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496" r:id="rId3"/>
    <p:sldId id="497" r:id="rId4"/>
    <p:sldId id="466" r:id="rId5"/>
    <p:sldId id="506" r:id="rId6"/>
    <p:sldId id="507" r:id="rId7"/>
    <p:sldId id="467" r:id="rId8"/>
    <p:sldId id="508" r:id="rId9"/>
    <p:sldId id="509" r:id="rId10"/>
    <p:sldId id="462" r:id="rId11"/>
    <p:sldId id="503" r:id="rId12"/>
    <p:sldId id="504" r:id="rId13"/>
    <p:sldId id="512" r:id="rId14"/>
    <p:sldId id="479" r:id="rId15"/>
  </p:sldIdLst>
  <p:sldSz cx="9144000" cy="6858000" type="screen4x3"/>
  <p:notesSz cx="7099300" cy="10234613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345">
          <p15:clr>
            <a:srgbClr val="A4A3A4"/>
          </p15:clr>
        </p15:guide>
        <p15:guide id="2" orient="horz" pos="613">
          <p15:clr>
            <a:srgbClr val="A4A3A4"/>
          </p15:clr>
        </p15:guide>
        <p15:guide id="3" orient="horz" pos="3893">
          <p15:clr>
            <a:srgbClr val="A4A3A4"/>
          </p15:clr>
        </p15:guide>
        <p15:guide id="4" orient="horz" pos="4171">
          <p15:clr>
            <a:srgbClr val="A4A3A4"/>
          </p15:clr>
        </p15:guide>
        <p15:guide id="5" orient="horz" pos="2783">
          <p15:clr>
            <a:srgbClr val="A4A3A4"/>
          </p15:clr>
        </p15:guide>
        <p15:guide id="6" orient="horz" pos="3758">
          <p15:clr>
            <a:srgbClr val="A4A3A4"/>
          </p15:clr>
        </p15:guide>
        <p15:guide id="7" orient="horz" pos="1141">
          <p15:clr>
            <a:srgbClr val="A4A3A4"/>
          </p15:clr>
        </p15:guide>
        <p15:guide id="8" pos="2784">
          <p15:clr>
            <a:srgbClr val="A4A3A4"/>
          </p15:clr>
        </p15:guide>
        <p15:guide id="9" pos="5477">
          <p15:clr>
            <a:srgbClr val="A4A3A4"/>
          </p15:clr>
        </p15:guide>
        <p15:guide id="10" pos="2968">
          <p15:clr>
            <a:srgbClr val="A4A3A4"/>
          </p15:clr>
        </p15:guide>
        <p15:guide id="11" pos="2824">
          <p15:clr>
            <a:srgbClr val="A4A3A4"/>
          </p15:clr>
        </p15:guide>
        <p15:guide id="12" pos="276">
          <p15:clr>
            <a:srgbClr val="A4A3A4"/>
          </p15:clr>
        </p15:guide>
        <p15:guide id="13" pos="3126">
          <p15:clr>
            <a:srgbClr val="A4A3A4"/>
          </p15:clr>
        </p15:guide>
        <p15:guide id="14" pos="3639">
          <p15:clr>
            <a:srgbClr val="A4A3A4"/>
          </p15:clr>
        </p15:guide>
        <p15:guide id="15" pos="472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A3"/>
    <a:srgbClr val="3640CB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28" autoAdjust="0"/>
    <p:restoredTop sz="89988" autoAdjust="0"/>
  </p:normalViewPr>
  <p:slideViewPr>
    <p:cSldViewPr snapToGrid="0" snapToObjects="1">
      <p:cViewPr varScale="1">
        <p:scale>
          <a:sx n="80" d="100"/>
          <a:sy n="80" d="100"/>
        </p:scale>
        <p:origin x="-1891" y="-67"/>
      </p:cViewPr>
      <p:guideLst>
        <p:guide orient="horz" pos="2345"/>
        <p:guide orient="horz" pos="613"/>
        <p:guide orient="horz" pos="3893"/>
        <p:guide orient="horz" pos="4171"/>
        <p:guide orient="horz" pos="2783"/>
        <p:guide orient="horz" pos="3758"/>
        <p:guide orient="horz" pos="1141"/>
        <p:guide pos="2784"/>
        <p:guide pos="5477"/>
        <p:guide pos="2968"/>
        <p:guide pos="2824"/>
        <p:guide pos="276"/>
        <p:guide pos="3126"/>
        <p:guide pos="3639"/>
        <p:guide pos="4722"/>
      </p:guideLst>
    </p:cSldViewPr>
  </p:slideViewPr>
  <p:outlineViewPr>
    <p:cViewPr>
      <p:scale>
        <a:sx n="33" d="100"/>
        <a:sy n="33" d="100"/>
      </p:scale>
      <p:origin x="0" y="37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643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768F49-F2A5-4925-BF1A-F2C898CAC102}" type="doc">
      <dgm:prSet loTypeId="urn:microsoft.com/office/officeart/2005/8/layout/radial4" loCatId="relationship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n-GB"/>
        </a:p>
      </dgm:t>
    </dgm:pt>
    <dgm:pt modelId="{22A8EF7C-6F8E-44EE-8346-D393AEBF23BC}">
      <dgm:prSet phldrT="[Text]" custT="1"/>
      <dgm:spPr>
        <a:solidFill>
          <a:srgbClr val="007293"/>
        </a:solidFill>
      </dgm:spPr>
      <dgm:t>
        <a:bodyPr rIns="0"/>
        <a:lstStyle/>
        <a:p>
          <a:r>
            <a:rPr lang="de-DE" sz="1800" b="1" dirty="0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  <a:t>Flexibles </a:t>
          </a:r>
          <a:br>
            <a:rPr lang="de-DE" sz="1800" b="1" dirty="0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</a:br>
          <a:r>
            <a:rPr lang="de-DE" sz="1800" b="1" dirty="0" err="1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  <a:t>Carsharing</a:t>
          </a:r>
          <a:endParaRPr lang="en-GB" sz="1800" b="1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DA138527-F9EE-4883-A1EE-B7A1FCE50327}" type="parTrans" cxnId="{61EF0B73-E8E5-419B-B838-342D8C0CF5B7}">
      <dgm:prSet/>
      <dgm:spPr/>
      <dgm:t>
        <a:bodyPr/>
        <a:lstStyle/>
        <a:p>
          <a:endParaRPr lang="en-GB"/>
        </a:p>
      </dgm:t>
    </dgm:pt>
    <dgm:pt modelId="{58465364-8994-404A-BFC2-A11E630DCE94}" type="sibTrans" cxnId="{61EF0B73-E8E5-419B-B838-342D8C0CF5B7}">
      <dgm:prSet/>
      <dgm:spPr/>
      <dgm:t>
        <a:bodyPr/>
        <a:lstStyle/>
        <a:p>
          <a:endParaRPr lang="en-GB"/>
        </a:p>
      </dgm:t>
    </dgm:pt>
    <dgm:pt modelId="{5E199F3F-A0B2-4D7E-8F6B-06F538A6605F}">
      <dgm:prSet phldrT="[Text]" custT="1"/>
      <dgm:spPr>
        <a:solidFill>
          <a:schemeClr val="accent2">
            <a:lumMod val="75000"/>
            <a:lumOff val="25000"/>
          </a:schemeClr>
        </a:solidFill>
        <a:ln w="28575">
          <a:solidFill>
            <a:schemeClr val="bg1"/>
          </a:solidFill>
        </a:ln>
      </dgm:spPr>
      <dgm:t>
        <a:bodyPr/>
        <a:lstStyle/>
        <a:p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r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arktführer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für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miumprodukte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und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dividuelle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bilitätslösungen</a:t>
          </a:r>
          <a:endParaRPr lang="en-GB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9337D0E6-6414-4585-A26D-2FD42D183D05}" type="parTrans" cxnId="{1C9C5B5A-EEE4-492B-9CDE-52CCC00597D2}">
      <dgm:prSet/>
      <dgm:spPr>
        <a:solidFill>
          <a:schemeClr val="accent3"/>
        </a:solidFill>
        <a:ln w="28575">
          <a:solidFill>
            <a:schemeClr val="bg1"/>
          </a:solidFill>
        </a:ln>
      </dgm:spPr>
      <dgm:t>
        <a:bodyPr/>
        <a:lstStyle/>
        <a:p>
          <a:endParaRPr lang="en-GB"/>
        </a:p>
      </dgm:t>
    </dgm:pt>
    <dgm:pt modelId="{3B7DB861-8F48-4CB0-AB57-93E4632A3D13}" type="sibTrans" cxnId="{1C9C5B5A-EEE4-492B-9CDE-52CCC00597D2}">
      <dgm:prSet/>
      <dgm:spPr/>
      <dgm:t>
        <a:bodyPr/>
        <a:lstStyle/>
        <a:p>
          <a:endParaRPr lang="en-GB"/>
        </a:p>
      </dgm:t>
    </dgm:pt>
    <dgm:pt modelId="{5FFF7D53-3BD5-4CE6-A377-167E0D2D4B56}">
      <dgm:prSet phldrT="[Text]" custT="1"/>
      <dgm:spPr>
        <a:solidFill>
          <a:schemeClr val="accent3"/>
        </a:solidFill>
        <a:ln w="28575">
          <a:solidFill>
            <a:schemeClr val="bg1"/>
          </a:solidFill>
        </a:ln>
      </dgm:spPr>
      <dgm:t>
        <a:bodyPr/>
        <a:lstStyle/>
        <a:p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r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xperte</a:t>
          </a:r>
          <a:r>
            <a:rPr lang="en-GB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in </a:t>
          </a:r>
          <a:r>
            <a:rPr lang="en-GB" sz="16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ietwagenlösungen</a:t>
          </a:r>
          <a:endParaRPr lang="en-GB" sz="16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E02FBAD2-1D66-4ADE-9B06-553EBF15474B}" type="parTrans" cxnId="{1980B078-A3C1-40F5-B3C9-87C8AA1975DB}">
      <dgm:prSet/>
      <dgm:spPr>
        <a:solidFill>
          <a:schemeClr val="accent3"/>
        </a:solidFill>
        <a:ln w="28575">
          <a:solidFill>
            <a:schemeClr val="bg1"/>
          </a:solidFill>
        </a:ln>
      </dgm:spPr>
      <dgm:t>
        <a:bodyPr/>
        <a:lstStyle/>
        <a:p>
          <a:endParaRPr lang="en-GB"/>
        </a:p>
      </dgm:t>
    </dgm:pt>
    <dgm:pt modelId="{31E8A583-9D8F-4AB4-B4B8-AF9F90BA3048}" type="sibTrans" cxnId="{1980B078-A3C1-40F5-B3C9-87C8AA1975DB}">
      <dgm:prSet/>
      <dgm:spPr/>
      <dgm:t>
        <a:bodyPr/>
        <a:lstStyle/>
        <a:p>
          <a:endParaRPr lang="en-GB"/>
        </a:p>
      </dgm:t>
    </dgm:pt>
    <dgm:pt modelId="{AC1880E1-A1AE-4DD9-B168-9318F0F38322}" type="pres">
      <dgm:prSet presAssocID="{85768F49-F2A5-4925-BF1A-F2C898CAC102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6D30B9DC-4D9E-446A-AFF4-5308558D64EB}" type="pres">
      <dgm:prSet presAssocID="{22A8EF7C-6F8E-44EE-8346-D393AEBF23BC}" presName="centerShape" presStyleLbl="node0" presStyleIdx="0" presStyleCnt="1" custScaleX="101581" custScaleY="72583" custLinFactNeighborY="-5855"/>
      <dgm:spPr/>
      <dgm:t>
        <a:bodyPr/>
        <a:lstStyle/>
        <a:p>
          <a:endParaRPr lang="en-GB"/>
        </a:p>
      </dgm:t>
    </dgm:pt>
    <dgm:pt modelId="{5145E894-9ADA-42C0-B832-52D65EAD19FE}" type="pres">
      <dgm:prSet presAssocID="{9337D0E6-6414-4585-A26D-2FD42D183D05}" presName="parTrans" presStyleLbl="bgSibTrans2D1" presStyleIdx="0" presStyleCnt="2" custLinFactNeighborX="19123" custLinFactNeighborY="15101"/>
      <dgm:spPr/>
      <dgm:t>
        <a:bodyPr/>
        <a:lstStyle/>
        <a:p>
          <a:endParaRPr lang="en-GB"/>
        </a:p>
      </dgm:t>
    </dgm:pt>
    <dgm:pt modelId="{CB66618B-F99B-4220-857A-FC29CA165FF1}" type="pres">
      <dgm:prSet presAssocID="{5E199F3F-A0B2-4D7E-8F6B-06F538A6605F}" presName="node" presStyleLbl="node1" presStyleIdx="0" presStyleCnt="2" custScaleX="12698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82B4B5A-89BE-4E22-92F5-58F588AAF2C9}" type="pres">
      <dgm:prSet presAssocID="{E02FBAD2-1D66-4ADE-9B06-553EBF15474B}" presName="parTrans" presStyleLbl="bgSibTrans2D1" presStyleIdx="1" presStyleCnt="2" custLinFactNeighborX="-18680" custLinFactNeighborY="17682"/>
      <dgm:spPr/>
      <dgm:t>
        <a:bodyPr/>
        <a:lstStyle/>
        <a:p>
          <a:endParaRPr lang="en-GB"/>
        </a:p>
      </dgm:t>
    </dgm:pt>
    <dgm:pt modelId="{AE476D80-3390-470F-BAD5-2D78F4BE72ED}" type="pres">
      <dgm:prSet presAssocID="{5FFF7D53-3BD5-4CE6-A377-167E0D2D4B56}" presName="node" presStyleLbl="node1" presStyleIdx="1" presStyleCnt="2" custScaleX="12698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61EF0B73-E8E5-419B-B838-342D8C0CF5B7}" srcId="{85768F49-F2A5-4925-BF1A-F2C898CAC102}" destId="{22A8EF7C-6F8E-44EE-8346-D393AEBF23BC}" srcOrd="0" destOrd="0" parTransId="{DA138527-F9EE-4883-A1EE-B7A1FCE50327}" sibTransId="{58465364-8994-404A-BFC2-A11E630DCE94}"/>
    <dgm:cxn modelId="{2FC7DD08-07F0-4BDB-8D91-01877B7004C7}" type="presOf" srcId="{22A8EF7C-6F8E-44EE-8346-D393AEBF23BC}" destId="{6D30B9DC-4D9E-446A-AFF4-5308558D64EB}" srcOrd="0" destOrd="0" presId="urn:microsoft.com/office/officeart/2005/8/layout/radial4"/>
    <dgm:cxn modelId="{5A734A33-930F-4DED-8B85-BA7E73A6B30B}" type="presOf" srcId="{5E199F3F-A0B2-4D7E-8F6B-06F538A6605F}" destId="{CB66618B-F99B-4220-857A-FC29CA165FF1}" srcOrd="0" destOrd="0" presId="urn:microsoft.com/office/officeart/2005/8/layout/radial4"/>
    <dgm:cxn modelId="{1C9C5B5A-EEE4-492B-9CDE-52CCC00597D2}" srcId="{22A8EF7C-6F8E-44EE-8346-D393AEBF23BC}" destId="{5E199F3F-A0B2-4D7E-8F6B-06F538A6605F}" srcOrd="0" destOrd="0" parTransId="{9337D0E6-6414-4585-A26D-2FD42D183D05}" sibTransId="{3B7DB861-8F48-4CB0-AB57-93E4632A3D13}"/>
    <dgm:cxn modelId="{1980B078-A3C1-40F5-B3C9-87C8AA1975DB}" srcId="{22A8EF7C-6F8E-44EE-8346-D393AEBF23BC}" destId="{5FFF7D53-3BD5-4CE6-A377-167E0D2D4B56}" srcOrd="1" destOrd="0" parTransId="{E02FBAD2-1D66-4ADE-9B06-553EBF15474B}" sibTransId="{31E8A583-9D8F-4AB4-B4B8-AF9F90BA3048}"/>
    <dgm:cxn modelId="{F0852589-5D4C-4DC2-834C-2D1B419C04B3}" type="presOf" srcId="{9337D0E6-6414-4585-A26D-2FD42D183D05}" destId="{5145E894-9ADA-42C0-B832-52D65EAD19FE}" srcOrd="0" destOrd="0" presId="urn:microsoft.com/office/officeart/2005/8/layout/radial4"/>
    <dgm:cxn modelId="{921F6929-FB1D-4348-876C-5EBB6828DB71}" type="presOf" srcId="{85768F49-F2A5-4925-BF1A-F2C898CAC102}" destId="{AC1880E1-A1AE-4DD9-B168-9318F0F38322}" srcOrd="0" destOrd="0" presId="urn:microsoft.com/office/officeart/2005/8/layout/radial4"/>
    <dgm:cxn modelId="{4E4DE07E-352C-412E-A933-579DEC8EEC49}" type="presOf" srcId="{5FFF7D53-3BD5-4CE6-A377-167E0D2D4B56}" destId="{AE476D80-3390-470F-BAD5-2D78F4BE72ED}" srcOrd="0" destOrd="0" presId="urn:microsoft.com/office/officeart/2005/8/layout/radial4"/>
    <dgm:cxn modelId="{DD01D1FC-0C08-4AFA-83DF-4ADC50829070}" type="presOf" srcId="{E02FBAD2-1D66-4ADE-9B06-553EBF15474B}" destId="{082B4B5A-89BE-4E22-92F5-58F588AAF2C9}" srcOrd="0" destOrd="0" presId="urn:microsoft.com/office/officeart/2005/8/layout/radial4"/>
    <dgm:cxn modelId="{6C0FBC27-D722-41F2-B61A-F743D1C82C09}" type="presParOf" srcId="{AC1880E1-A1AE-4DD9-B168-9318F0F38322}" destId="{6D30B9DC-4D9E-446A-AFF4-5308558D64EB}" srcOrd="0" destOrd="0" presId="urn:microsoft.com/office/officeart/2005/8/layout/radial4"/>
    <dgm:cxn modelId="{1B64C582-0AFA-4FBC-881E-5AD9FC1CDE53}" type="presParOf" srcId="{AC1880E1-A1AE-4DD9-B168-9318F0F38322}" destId="{5145E894-9ADA-42C0-B832-52D65EAD19FE}" srcOrd="1" destOrd="0" presId="urn:microsoft.com/office/officeart/2005/8/layout/radial4"/>
    <dgm:cxn modelId="{A6985B27-774A-45B3-A317-1811CF6ABF8F}" type="presParOf" srcId="{AC1880E1-A1AE-4DD9-B168-9318F0F38322}" destId="{CB66618B-F99B-4220-857A-FC29CA165FF1}" srcOrd="2" destOrd="0" presId="urn:microsoft.com/office/officeart/2005/8/layout/radial4"/>
    <dgm:cxn modelId="{EC32A2DA-9AA1-4375-8DF1-6FACB68F40E2}" type="presParOf" srcId="{AC1880E1-A1AE-4DD9-B168-9318F0F38322}" destId="{082B4B5A-89BE-4E22-92F5-58F588AAF2C9}" srcOrd="3" destOrd="0" presId="urn:microsoft.com/office/officeart/2005/8/layout/radial4"/>
    <dgm:cxn modelId="{F5361F3E-EECB-4D06-9CCC-3AED6B6FCC04}" type="presParOf" srcId="{AC1880E1-A1AE-4DD9-B168-9318F0F38322}" destId="{AE476D80-3390-470F-BAD5-2D78F4BE72ED}" srcOrd="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30B9DC-4D9E-446A-AFF4-5308558D64EB}">
      <dsp:nvSpPr>
        <dsp:cNvPr id="0" name=""/>
        <dsp:cNvSpPr/>
      </dsp:nvSpPr>
      <dsp:spPr>
        <a:xfrm>
          <a:off x="3240035" y="1358963"/>
          <a:ext cx="2016228" cy="1440662"/>
        </a:xfrm>
        <a:prstGeom prst="ellipse">
          <a:avLst/>
        </a:prstGeom>
        <a:solidFill>
          <a:srgbClr val="00729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  <a:t>Flexibles </a:t>
          </a:r>
          <a:br>
            <a:rPr lang="de-DE" sz="1800" b="1" kern="1200" dirty="0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</a:br>
          <a:r>
            <a:rPr lang="de-DE" sz="1800" b="1" kern="1200" dirty="0" err="1" smtClean="0">
              <a:solidFill>
                <a:schemeClr val="bg1"/>
              </a:solidFill>
              <a:latin typeface="Arial" pitchFamily="34" charset="0"/>
              <a:ea typeface="MS PGothic" panose="020B0600070205080204" pitchFamily="34" charset="-128"/>
              <a:cs typeface="Arial" pitchFamily="34" charset="0"/>
            </a:rPr>
            <a:t>Carsharing</a:t>
          </a:r>
          <a:endParaRPr lang="en-GB" sz="1800" b="1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3535305" y="1569943"/>
        <a:ext cx="1425688" cy="1018702"/>
      </dsp:txXfrm>
    </dsp:sp>
    <dsp:sp modelId="{5145E894-9ADA-42C0-B832-52D65EAD19FE}">
      <dsp:nvSpPr>
        <dsp:cNvPr id="0" name=""/>
        <dsp:cNvSpPr/>
      </dsp:nvSpPr>
      <dsp:spPr>
        <a:xfrm rot="12547737">
          <a:off x="2300129" y="1045466"/>
          <a:ext cx="1447908" cy="565681"/>
        </a:xfrm>
        <a:prstGeom prst="leftArrow">
          <a:avLst>
            <a:gd name="adj1" fmla="val 60000"/>
            <a:gd name="adj2" fmla="val 50000"/>
          </a:avLst>
        </a:prstGeom>
        <a:solidFill>
          <a:schemeClr val="accent3"/>
        </a:solidFill>
        <a:ln w="28575"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66618B-F99B-4220-857A-FC29CA165FF1}">
      <dsp:nvSpPr>
        <dsp:cNvPr id="0" name=""/>
        <dsp:cNvSpPr/>
      </dsp:nvSpPr>
      <dsp:spPr>
        <a:xfrm>
          <a:off x="917570" y="136237"/>
          <a:ext cx="2394474" cy="1508484"/>
        </a:xfrm>
        <a:prstGeom prst="roundRect">
          <a:avLst>
            <a:gd name="adj" fmla="val 10000"/>
          </a:avLst>
        </a:prstGeom>
        <a:solidFill>
          <a:schemeClr val="accent2">
            <a:lumMod val="75000"/>
            <a:lumOff val="25000"/>
          </a:schemeClr>
        </a:solidFill>
        <a:ln w="28575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r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arktführer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für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remiumprodukte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und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individuelle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bilitätslösungen</a:t>
          </a:r>
          <a:endParaRPr lang="en-GB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961752" y="180419"/>
        <a:ext cx="2306110" cy="1420120"/>
      </dsp:txXfrm>
    </dsp:sp>
    <dsp:sp modelId="{082B4B5A-89BE-4E22-92F5-58F588AAF2C9}">
      <dsp:nvSpPr>
        <dsp:cNvPr id="0" name=""/>
        <dsp:cNvSpPr/>
      </dsp:nvSpPr>
      <dsp:spPr>
        <a:xfrm rot="19852263">
          <a:off x="4754675" y="1060066"/>
          <a:ext cx="1447908" cy="565681"/>
        </a:xfrm>
        <a:prstGeom prst="leftArrow">
          <a:avLst>
            <a:gd name="adj1" fmla="val 60000"/>
            <a:gd name="adj2" fmla="val 50000"/>
          </a:avLst>
        </a:prstGeom>
        <a:solidFill>
          <a:schemeClr val="accent3"/>
        </a:solidFill>
        <a:ln w="28575">
          <a:solidFill>
            <a:schemeClr val="bg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476D80-3390-470F-BAD5-2D78F4BE72ED}">
      <dsp:nvSpPr>
        <dsp:cNvPr id="0" name=""/>
        <dsp:cNvSpPr/>
      </dsp:nvSpPr>
      <dsp:spPr>
        <a:xfrm>
          <a:off x="5184255" y="136237"/>
          <a:ext cx="2394474" cy="1508484"/>
        </a:xfrm>
        <a:prstGeom prst="roundRect">
          <a:avLst>
            <a:gd name="adj" fmla="val 10000"/>
          </a:avLst>
        </a:prstGeom>
        <a:solidFill>
          <a:schemeClr val="accent3"/>
        </a:solidFill>
        <a:ln w="28575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er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xperte</a:t>
          </a:r>
          <a:r>
            <a:rPr lang="en-GB" sz="1600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 in </a:t>
          </a:r>
          <a:r>
            <a:rPr lang="en-GB" sz="1600" kern="12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ietwagenlösungen</a:t>
          </a:r>
          <a:endParaRPr lang="en-GB" sz="1600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5228437" y="180419"/>
        <a:ext cx="2306110" cy="1420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Arial"/>
                <a:cs typeface="+mn-cs"/>
              </a:defRPr>
            </a:lvl1pPr>
          </a:lstStyle>
          <a:p>
            <a:pPr>
              <a:defRPr/>
            </a:pPr>
            <a:fld id="{D6665184-9428-4089-933F-AD0072E7465D}" type="datetimeFigureOut">
              <a:rPr lang="en-US"/>
              <a:pPr>
                <a:defRPr/>
              </a:pPr>
              <a:t>3/22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 noProof="0" smtClean="0">
                <a:sym typeface="Arial"/>
              </a:rPr>
              <a:t>Textmasterformat bearbeiten</a:t>
            </a:r>
          </a:p>
          <a:p>
            <a:pPr lvl="1"/>
            <a:r>
              <a:rPr lang="de-DE" noProof="0" smtClean="0">
                <a:sym typeface="Arial"/>
              </a:rPr>
              <a:t>Zweite Ebene</a:t>
            </a:r>
          </a:p>
          <a:p>
            <a:pPr lvl="2"/>
            <a:r>
              <a:rPr lang="de-DE" noProof="0" smtClean="0">
                <a:sym typeface="Arial"/>
              </a:rPr>
              <a:t>Dritte Ebene</a:t>
            </a:r>
          </a:p>
          <a:p>
            <a:pPr lvl="3"/>
            <a:r>
              <a:rPr lang="de-DE" noProof="0" smtClean="0">
                <a:sym typeface="Arial"/>
              </a:rPr>
              <a:t>Vierte Ebene</a:t>
            </a:r>
          </a:p>
          <a:p>
            <a:pPr lvl="4"/>
            <a:r>
              <a:rPr lang="de-DE" noProof="0" smtClean="0">
                <a:sym typeface="Arial"/>
              </a:rPr>
              <a:t>Fünfte Ebene</a:t>
            </a:r>
            <a:endParaRPr lang="en-US" noProof="0">
              <a:sym typeface="Arial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Arial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Arial"/>
                <a:cs typeface="+mn-cs"/>
              </a:defRPr>
            </a:lvl1pPr>
          </a:lstStyle>
          <a:p>
            <a:pPr>
              <a:defRPr/>
            </a:pPr>
            <a:fld id="{F0505211-1818-4F13-B149-99CAEBEFB21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5414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7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1538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>
              <a:latin typeface="Arial" charset="0"/>
            </a:endParaRPr>
          </a:p>
        </p:txBody>
      </p:sp>
      <p:sp>
        <p:nvSpPr>
          <p:cNvPr id="321539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4C2D888-4165-4CB1-AC87-8EDB784187E1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581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0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6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Inhaltsplatzhalter 2"/>
          <p:cNvSpPr txBox="1">
            <a:spLocks/>
          </p:cNvSpPr>
          <p:nvPr userDrawn="1"/>
        </p:nvSpPr>
        <p:spPr>
          <a:xfrm>
            <a:off x="7654925" y="115888"/>
            <a:ext cx="1644650" cy="5064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1pPr>
            <a:lvl2pPr marL="177800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2pPr>
            <a:lvl3pPr marL="355600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3pPr>
            <a:lvl4pPr marL="5413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4pPr>
            <a:lvl5pPr marL="7191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5pPr>
            <a:lvl6pPr marL="8969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6pPr>
            <a:lvl7pPr marL="10747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7pPr>
            <a:lvl8pPr marL="12525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8pPr>
            <a:lvl9pPr marL="1439863" indent="-1873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9pPr>
          </a:lstStyle>
          <a:p>
            <a:pPr marL="363538" indent="-363538" fontAlgn="auto">
              <a:spcAft>
                <a:spcPts val="0"/>
              </a:spcAft>
              <a:defRPr/>
            </a:pPr>
            <a:r>
              <a:rPr lang="de-DE" altLang="de-DE" b="1" dirty="0" smtClean="0">
                <a:solidFill>
                  <a:srgbClr val="FF0000"/>
                </a:solidFill>
                <a:ea typeface="MS PGothic"/>
              </a:rPr>
              <a:t>Vertraulich!</a:t>
            </a:r>
          </a:p>
          <a:p>
            <a:pPr marL="363538" indent="-363538" fontAlgn="auto">
              <a:spcAft>
                <a:spcPts val="0"/>
              </a:spcAft>
              <a:buFont typeface="Symbol" pitchFamily="18" charset="2"/>
              <a:buNone/>
              <a:defRPr/>
            </a:pPr>
            <a:endParaRPr lang="de-DE" altLang="de-DE" sz="1800" dirty="0" smtClean="0">
              <a:ea typeface="MS PGothic"/>
            </a:endParaRPr>
          </a:p>
          <a:p>
            <a:pPr marL="363538" indent="-363538" fontAlgn="auto">
              <a:spcAft>
                <a:spcPts val="0"/>
              </a:spcAft>
              <a:buFont typeface="Symbol" pitchFamily="18" charset="2"/>
              <a:buNone/>
              <a:defRPr/>
            </a:pPr>
            <a:endParaRPr lang="de-DE" altLang="de-DE" sz="1800" dirty="0" smtClean="0">
              <a:ea typeface="MS PGothic"/>
            </a:endParaRPr>
          </a:p>
          <a:p>
            <a:pPr marL="363538" indent="-363538" fontAlgn="auto">
              <a:spcAft>
                <a:spcPts val="0"/>
              </a:spcAft>
              <a:buFont typeface="Symbol" pitchFamily="18" charset="2"/>
              <a:buNone/>
              <a:defRPr/>
            </a:pPr>
            <a:endParaRPr lang="de-DE" altLang="de-DE" dirty="0" smtClean="0">
              <a:ea typeface="MS PGothic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0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1" descr="DN_PPT_Pictures_01.jpg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gray">
          <a:xfrm>
            <a:off x="-4763" y="0"/>
            <a:ext cx="9156701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8"/>
          <p:cNvSpPr/>
          <p:nvPr userDrawn="1"/>
        </p:nvSpPr>
        <p:spPr bwMode="gray">
          <a:xfrm>
            <a:off x="4846638" y="538163"/>
            <a:ext cx="4305300" cy="968375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pic>
        <p:nvPicPr>
          <p:cNvPr id="12" name="Bild 16" descr="drive_now_logo.png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gray">
          <a:xfrm>
            <a:off x="5122863" y="809625"/>
            <a:ext cx="2943225" cy="44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hteck 10"/>
          <p:cNvSpPr/>
          <p:nvPr userDrawn="1"/>
        </p:nvSpPr>
        <p:spPr bwMode="gray">
          <a:xfrm>
            <a:off x="4838700" y="1616075"/>
            <a:ext cx="4313238" cy="2208213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pic>
        <p:nvPicPr>
          <p:cNvPr id="14" name="Picture 35" descr="\\NAS\INSCALE_aktuelle_Projekte\NetCast\13-1028_Master+PPT_BenMessaoud\neue Dateien\Material\media\image3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gray">
          <a:xfrm>
            <a:off x="5137150" y="3341688"/>
            <a:ext cx="26701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5122784" y="1824854"/>
            <a:ext cx="3736488" cy="928800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5122784" y="2937600"/>
            <a:ext cx="3736488" cy="370800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39636C-EBAA-4D6A-9B44-565A0A37404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2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26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1817688"/>
            <a:ext cx="8380412" cy="4414837"/>
          </a:xfrm>
        </p:spPr>
        <p:txBody>
          <a:bodyPr/>
          <a:lstStyle>
            <a:lvl1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3pPr>
            <a:lvl4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4pPr>
            <a:lvl5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5pPr>
            <a:lvl6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6pPr>
            <a:lvl7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7pPr>
            <a:lvl8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8pPr>
            <a:lvl9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A56F7F-4C83-463B-93C7-EA7A331F2D4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4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50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1817688"/>
            <a:ext cx="8380412" cy="4414837"/>
          </a:xfrm>
        </p:spPr>
        <p:txBody>
          <a:bodyPr/>
          <a:lstStyle>
            <a:lvl1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1pPr>
            <a:lvl2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2pPr>
            <a:lvl3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3pPr>
            <a:lvl4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4pPr>
            <a:lvl5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5pPr>
            <a:lvl6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6pPr>
            <a:lvl7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7pPr>
            <a:lvl8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8pPr>
            <a:lvl9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AD635-EE9F-4A85-92AF-52F8BF822982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5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7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D5C9A-F301-431E-933D-468D97E530F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5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4" name="Gerade Verbindung 3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Bild 11" descr="drive_now_logo.png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20" name="think-cell Folie" r:id="rId5" imgW="270" imgH="270" progId="">
                  <p:embed/>
                </p:oleObj>
              </mc:Choice>
              <mc:Fallback>
                <p:oleObj name="think-cell Foli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8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21" name="think-cell Folie" r:id="rId8" imgW="270" imgH="270" progId="">
                  <p:embed/>
                </p:oleObj>
              </mc:Choice>
              <mc:Fallback>
                <p:oleObj name="think-cell Foli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941636" y="856800"/>
            <a:ext cx="3862800" cy="438544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spcBef>
                <a:spcPts val="500"/>
              </a:spcBef>
              <a:defRPr sz="2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427038" y="973138"/>
            <a:ext cx="4089600" cy="5259387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 bwMode="gray">
          <a:xfrm>
            <a:off x="4941636" y="1817689"/>
            <a:ext cx="3862800" cy="4414836"/>
          </a:xfrm>
        </p:spPr>
        <p:txBody>
          <a:bodyPr/>
          <a:lstStyle>
            <a:lvl1pPr>
              <a:lnSpc>
                <a:spcPts val="2400"/>
              </a:lnSpc>
              <a:spcBef>
                <a:spcPts val="1000"/>
              </a:spcBef>
              <a:defRPr/>
            </a:lvl1pPr>
            <a:lvl2pPr>
              <a:lnSpc>
                <a:spcPts val="2400"/>
              </a:lnSpc>
              <a:spcBef>
                <a:spcPts val="1000"/>
              </a:spcBef>
              <a:defRPr/>
            </a:lvl2pPr>
            <a:lvl3pPr>
              <a:lnSpc>
                <a:spcPts val="2400"/>
              </a:lnSpc>
              <a:spcBef>
                <a:spcPts val="1000"/>
              </a:spcBef>
              <a:defRPr/>
            </a:lvl3pPr>
            <a:lvl4pPr>
              <a:lnSpc>
                <a:spcPts val="2400"/>
              </a:lnSpc>
              <a:spcBef>
                <a:spcPts val="1000"/>
              </a:spcBef>
              <a:defRPr/>
            </a:lvl4pPr>
            <a:lvl5pPr>
              <a:lnSpc>
                <a:spcPts val="2400"/>
              </a:lnSpc>
              <a:spcBef>
                <a:spcPts val="1000"/>
              </a:spcBef>
              <a:defRPr/>
            </a:lvl5pPr>
            <a:lvl6pPr>
              <a:lnSpc>
                <a:spcPts val="2400"/>
              </a:lnSpc>
              <a:spcBef>
                <a:spcPts val="1000"/>
              </a:spcBef>
              <a:defRPr/>
            </a:lvl6pPr>
            <a:lvl7pPr>
              <a:lnSpc>
                <a:spcPts val="2400"/>
              </a:lnSpc>
              <a:spcBef>
                <a:spcPts val="1000"/>
              </a:spcBef>
              <a:defRPr/>
            </a:lvl7pPr>
            <a:lvl8pPr>
              <a:lnSpc>
                <a:spcPts val="2400"/>
              </a:lnSpc>
              <a:spcBef>
                <a:spcPts val="1000"/>
              </a:spcBef>
              <a:defRPr/>
            </a:lvl8pPr>
            <a:lvl9pPr>
              <a:lnSpc>
                <a:spcPts val="2400"/>
              </a:lnSpc>
              <a:spcBef>
                <a:spcPts val="10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C564D-F949-4589-B0FC-730EF3C5D3A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302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3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5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3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"/>
          <p:cNvSpPr/>
          <p:nvPr userDrawn="1"/>
        </p:nvSpPr>
        <p:spPr bwMode="gray">
          <a:xfrm rot="5400000">
            <a:off x="1410494" y="-875506"/>
            <a:ext cx="6323012" cy="9144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E8D6F9-0BE4-4EEB-B58A-207738D4D85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9144000" cy="6662952"/>
          </a:xfrm>
          <a:blipFill>
            <a:blip r:embed="rId6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29474" y="911224"/>
            <a:ext cx="4316400" cy="1382400"/>
          </a:xfrm>
          <a:solidFill>
            <a:schemeClr val="bg1">
              <a:alpha val="91000"/>
            </a:schemeClr>
          </a:solidFill>
        </p:spPr>
        <p:txBody>
          <a:bodyPr lIns="288000" tIns="212400" rIns="288000" bIns="2124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36F20-A872-4BDF-8AAF-31D0AE2C48D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8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8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 bwMode="gray">
          <a:xfrm>
            <a:off x="0" y="531813"/>
            <a:ext cx="9144000" cy="4475162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7038" y="5194800"/>
            <a:ext cx="8377398" cy="1037725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276195-ED62-40FC-9A8A-73863416530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0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8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06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 bwMode="gray">
          <a:xfrm>
            <a:off x="0" y="531813"/>
            <a:ext cx="9144000" cy="2905125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7037" y="3661199"/>
            <a:ext cx="4083957" cy="1329901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 bwMode="gray">
          <a:xfrm>
            <a:off x="4723494" y="3660776"/>
            <a:ext cx="4083956" cy="2571750"/>
          </a:xfrm>
        </p:spPr>
        <p:txBody>
          <a:bodyPr tIns="39600"/>
          <a:lstStyle>
            <a:lvl1pPr>
              <a:lnSpc>
                <a:spcPts val="2800"/>
              </a:lnSpc>
              <a:spcBef>
                <a:spcPts val="500"/>
              </a:spcBef>
              <a:defRPr/>
            </a:lvl1pPr>
            <a:lvl2pPr>
              <a:lnSpc>
                <a:spcPts val="2800"/>
              </a:lnSpc>
              <a:spcBef>
                <a:spcPts val="500"/>
              </a:spcBef>
              <a:defRPr/>
            </a:lvl2pPr>
            <a:lvl3pPr>
              <a:lnSpc>
                <a:spcPts val="2800"/>
              </a:lnSpc>
              <a:spcBef>
                <a:spcPts val="500"/>
              </a:spcBef>
              <a:defRPr/>
            </a:lvl3pPr>
            <a:lvl4pPr>
              <a:lnSpc>
                <a:spcPts val="2800"/>
              </a:lnSpc>
              <a:spcBef>
                <a:spcPts val="500"/>
              </a:spcBef>
              <a:defRPr/>
            </a:lvl4pPr>
            <a:lvl5pPr>
              <a:lnSpc>
                <a:spcPts val="2800"/>
              </a:lnSpc>
              <a:spcBef>
                <a:spcPts val="500"/>
              </a:spcBef>
              <a:defRPr/>
            </a:lvl5pPr>
            <a:lvl6pPr>
              <a:lnSpc>
                <a:spcPts val="2800"/>
              </a:lnSpc>
              <a:spcBef>
                <a:spcPts val="500"/>
              </a:spcBef>
              <a:defRPr/>
            </a:lvl6pPr>
            <a:lvl7pPr>
              <a:lnSpc>
                <a:spcPts val="2800"/>
              </a:lnSpc>
              <a:spcBef>
                <a:spcPts val="500"/>
              </a:spcBef>
              <a:defRPr/>
            </a:lvl7pPr>
            <a:lvl8pPr>
              <a:lnSpc>
                <a:spcPts val="2800"/>
              </a:lnSpc>
              <a:spcBef>
                <a:spcPts val="500"/>
              </a:spcBef>
              <a:defRPr/>
            </a:lvl8pPr>
            <a:lvl9pPr>
              <a:lnSpc>
                <a:spcPts val="28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8254D-283E-46F7-BBCF-D5BF361D082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2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12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30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16"/>
          <p:cNvSpPr>
            <a:spLocks noGrp="1"/>
          </p:cNvSpPr>
          <p:nvPr>
            <p:ph type="body" sz="quarter" idx="20"/>
          </p:nvPr>
        </p:nvSpPr>
        <p:spPr bwMode="gray">
          <a:xfrm>
            <a:off x="4722813" y="4213219"/>
            <a:ext cx="4084637" cy="2019305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18"/>
          </p:nvPr>
        </p:nvSpPr>
        <p:spPr bwMode="gray">
          <a:xfrm>
            <a:off x="4722813" y="3549647"/>
            <a:ext cx="4092575" cy="487362"/>
          </a:xfrm>
        </p:spPr>
        <p:txBody>
          <a:bodyPr anchor="ctr"/>
          <a:lstStyle>
            <a:lvl1pPr marL="0" indent="0">
              <a:buFont typeface="+mj-lt"/>
              <a:buNone/>
              <a:defRPr sz="2200" b="1"/>
            </a:lvl1pPr>
            <a:lvl2pPr marL="0" indent="0">
              <a:buNone/>
              <a:defRPr sz="2200" b="1"/>
            </a:lvl2pPr>
            <a:lvl3pPr marL="0" indent="0">
              <a:buNone/>
              <a:defRPr sz="2200" b="1"/>
            </a:lvl3pPr>
            <a:lvl4pPr marL="0" indent="0">
              <a:buNone/>
              <a:defRPr sz="2200" b="1"/>
            </a:lvl4pPr>
            <a:lvl5pPr marL="0" indent="0">
              <a:buNone/>
              <a:defRPr sz="2200" b="1"/>
            </a:lvl5pPr>
            <a:lvl6pPr marL="0" indent="0">
              <a:buNone/>
              <a:defRPr sz="2200" b="1"/>
            </a:lvl6pPr>
            <a:lvl7pPr marL="0" indent="0">
              <a:buNone/>
              <a:defRPr sz="2200" b="1"/>
            </a:lvl7pPr>
            <a:lvl8pPr marL="0" indent="0">
              <a:buNone/>
              <a:defRPr sz="2200" b="1"/>
            </a:lvl8pPr>
            <a:lvl9pPr marL="0" indent="0">
              <a:buNone/>
              <a:defRPr sz="22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 bwMode="gray">
          <a:xfrm>
            <a:off x="4722813" y="973138"/>
            <a:ext cx="4081462" cy="2517775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4092575" cy="2517775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6"/>
          </p:nvPr>
        </p:nvSpPr>
        <p:spPr bwMode="gray">
          <a:xfrm>
            <a:off x="419100" y="4213219"/>
            <a:ext cx="4084637" cy="2019305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0" y="3549647"/>
            <a:ext cx="4092575" cy="487362"/>
          </a:xfrm>
        </p:spPr>
        <p:txBody>
          <a:bodyPr anchor="ctr"/>
          <a:lstStyle>
            <a:lvl1pPr marL="0" indent="0">
              <a:buFont typeface="+mj-lt"/>
              <a:buNone/>
              <a:defRPr sz="2200" b="1"/>
            </a:lvl1pPr>
            <a:lvl2pPr marL="0" indent="0">
              <a:buNone/>
              <a:defRPr sz="2200" b="1"/>
            </a:lvl2pPr>
            <a:lvl3pPr marL="0" indent="0">
              <a:buNone/>
              <a:defRPr sz="2200" b="1"/>
            </a:lvl3pPr>
            <a:lvl4pPr marL="0" indent="0">
              <a:buNone/>
              <a:defRPr sz="2200" b="1"/>
            </a:lvl4pPr>
            <a:lvl5pPr marL="0" indent="0">
              <a:buNone/>
              <a:defRPr sz="2200" b="1"/>
            </a:lvl5pPr>
            <a:lvl6pPr marL="0" indent="0">
              <a:buNone/>
              <a:defRPr sz="2200" b="1"/>
            </a:lvl6pPr>
            <a:lvl7pPr marL="0" indent="0">
              <a:buNone/>
              <a:defRPr sz="2200" b="1"/>
            </a:lvl7pPr>
            <a:lvl8pPr marL="0" indent="0">
              <a:buNone/>
              <a:defRPr sz="2200" b="1"/>
            </a:lvl8pPr>
            <a:lvl9pPr marL="0" indent="0">
              <a:buNone/>
              <a:defRPr sz="22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E7F339-DC0F-4554-B16E-DCCBA686C1FC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14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16"/>
          <p:cNvSpPr>
            <a:spLocks noGrp="1"/>
          </p:cNvSpPr>
          <p:nvPr>
            <p:ph type="body" sz="quarter" idx="29"/>
          </p:nvPr>
        </p:nvSpPr>
        <p:spPr bwMode="gray">
          <a:xfrm>
            <a:off x="3290094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30"/>
          </p:nvPr>
        </p:nvSpPr>
        <p:spPr bwMode="gray">
          <a:xfrm>
            <a:off x="6161087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23"/>
          </p:nvPr>
        </p:nvSpPr>
        <p:spPr bwMode="gray">
          <a:xfrm>
            <a:off x="3290094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4"/>
          </p:nvPr>
        </p:nvSpPr>
        <p:spPr bwMode="gray">
          <a:xfrm>
            <a:off x="6161087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264636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6"/>
          </p:nvPr>
        </p:nvSpPr>
        <p:spPr bwMode="gray">
          <a:xfrm>
            <a:off x="419100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0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/>
          </p:nvPr>
        </p:nvSpPr>
        <p:spPr bwMode="gray">
          <a:xfrm>
            <a:off x="3290094" y="973138"/>
            <a:ext cx="264636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6161087" y="973138"/>
            <a:ext cx="264636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4560A-3F23-4E08-A239-CD64D6B9FDF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7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22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7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78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16"/>
          <p:cNvSpPr>
            <a:spLocks noGrp="1"/>
          </p:cNvSpPr>
          <p:nvPr>
            <p:ph type="body" sz="quarter" idx="27"/>
          </p:nvPr>
        </p:nvSpPr>
        <p:spPr bwMode="gray">
          <a:xfrm>
            <a:off x="2569312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28"/>
          </p:nvPr>
        </p:nvSpPr>
        <p:spPr bwMode="gray">
          <a:xfrm>
            <a:off x="471739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29"/>
          </p:nvPr>
        </p:nvSpPr>
        <p:spPr bwMode="gray">
          <a:xfrm>
            <a:off x="686973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26"/>
          </p:nvPr>
        </p:nvSpPr>
        <p:spPr bwMode="gray">
          <a:xfrm>
            <a:off x="42703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193771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1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/>
          </p:nvPr>
        </p:nvSpPr>
        <p:spPr bwMode="gray">
          <a:xfrm>
            <a:off x="2569312" y="973138"/>
            <a:ext cx="193771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9"/>
          </p:nvPr>
        </p:nvSpPr>
        <p:spPr bwMode="gray">
          <a:xfrm>
            <a:off x="2569312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4717398" y="973138"/>
            <a:ext cx="193771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22"/>
          </p:nvPr>
        </p:nvSpPr>
        <p:spPr bwMode="gray">
          <a:xfrm>
            <a:off x="4717398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3"/>
          </p:nvPr>
        </p:nvSpPr>
        <p:spPr bwMode="gray">
          <a:xfrm>
            <a:off x="6869737" y="973138"/>
            <a:ext cx="1937713" cy="2013719"/>
          </a:xfrm>
          <a:blipFill>
            <a:blip r:embed="rId9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5"/>
          </p:nvPr>
        </p:nvSpPr>
        <p:spPr bwMode="gray">
          <a:xfrm>
            <a:off x="6869738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8" name="Foliennummernplatzhalter 2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E771F8-A7C7-4934-BF57-D89EEF35342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0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02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2668588"/>
            <a:ext cx="8377237" cy="2005012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27038" y="1816894"/>
            <a:ext cx="8380412" cy="851693"/>
          </a:xfrm>
        </p:spPr>
        <p:txBody>
          <a:bodyPr/>
          <a:lstStyle>
            <a:lvl1pPr>
              <a:lnSpc>
                <a:spcPts val="2800"/>
              </a:lnSpc>
              <a:spcBef>
                <a:spcPts val="500"/>
              </a:spcBef>
              <a:defRPr sz="1800" b="1"/>
            </a:lvl1pPr>
            <a:lvl2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2pPr>
            <a:lvl3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3pPr>
            <a:lvl4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4pPr>
            <a:lvl5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5pPr>
            <a:lvl6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6pPr>
            <a:lvl7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7pPr>
            <a:lvl8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8pPr>
            <a:lvl9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9E8F0C-A9F4-4BBE-990A-D42A5BBC171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7" name="Object 123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0" name="Picture 1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1150" name="Titelplatzhalter 1"/>
          <p:cNvSpPr>
            <a:spLocks noGrp="1"/>
          </p:cNvSpPr>
          <p:nvPr>
            <p:ph type="title"/>
          </p:nvPr>
        </p:nvSpPr>
        <p:spPr bwMode="gray">
          <a:xfrm>
            <a:off x="427038" y="879475"/>
            <a:ext cx="8377237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27038" y="1819275"/>
            <a:ext cx="8377237" cy="4306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53" name="Bild 11" descr="drive_now_logo.png"/>
          <p:cNvPicPr>
            <a:picLocks noChangeAspect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334963" y="6681788"/>
            <a:ext cx="498475" cy="168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3D30D6C-EEEA-47AA-8101-10B3C89B5FD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1pPr>
      <a:lvl2pPr marL="177800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2pPr>
      <a:lvl3pPr marL="355600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4pPr>
      <a:lvl5pPr marL="719138" indent="-1778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5pPr>
      <a:lvl6pPr marL="8969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6pPr>
      <a:lvl7pPr marL="10747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7pPr>
      <a:lvl8pPr marL="12525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8pPr>
      <a:lvl9pPr marL="1439863" indent="-1873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4" Type="http://schemas.openxmlformats.org/officeDocument/2006/relationships/hyperlink" Target="http://www.drive-now.com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93" name="Object 12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4" name="Titel 1"/>
          <p:cNvSpPr>
            <a:spLocks noGrp="1"/>
          </p:cNvSpPr>
          <p:nvPr>
            <p:ph type="ctrTitle"/>
          </p:nvPr>
        </p:nvSpPr>
        <p:spPr>
          <a:xfrm>
            <a:off x="5048250" y="1862138"/>
            <a:ext cx="4021138" cy="917575"/>
          </a:xfrm>
        </p:spPr>
        <p:txBody>
          <a:bodyPr/>
          <a:lstStyle/>
          <a:p>
            <a:pPr eaLnBrk="1" hangingPunct="1"/>
            <a:r>
              <a:rPr lang="de-DE" sz="3000" dirty="0" smtClean="0">
                <a:latin typeface="Arial" charset="0"/>
                <a:cs typeface="Arial" charset="0"/>
              </a:rPr>
              <a:t>DriveNow</a:t>
            </a:r>
            <a:r>
              <a:rPr lang="de-DE" dirty="0" smtClean="0">
                <a:latin typeface="Arial" charset="0"/>
                <a:cs typeface="Arial" charset="0"/>
              </a:rPr>
              <a:t> </a:t>
            </a:r>
            <a:r>
              <a:rPr lang="de-DE" sz="3000" dirty="0" err="1" smtClean="0">
                <a:latin typeface="Arial" charset="0"/>
                <a:cs typeface="Arial" charset="0"/>
              </a:rPr>
              <a:t>KeyFacts</a:t>
            </a:r>
            <a:r>
              <a:rPr lang="de-DE" sz="3000" dirty="0" smtClean="0">
                <a:latin typeface="Arial" charset="0"/>
                <a:cs typeface="Arial" charset="0"/>
              </a:rPr>
              <a:t/>
            </a:r>
            <a:br>
              <a:rPr lang="de-DE" sz="3000" dirty="0" smtClean="0">
                <a:latin typeface="Arial" charset="0"/>
                <a:cs typeface="Arial" charset="0"/>
              </a:rPr>
            </a:br>
            <a:r>
              <a:rPr lang="de-DE" sz="3000" dirty="0" smtClean="0">
                <a:latin typeface="Arial" charset="0"/>
                <a:cs typeface="Arial" charset="0"/>
              </a:rPr>
              <a:t/>
            </a:r>
            <a:br>
              <a:rPr lang="de-DE" sz="3000" dirty="0" smtClean="0">
                <a:latin typeface="Arial" charset="0"/>
                <a:cs typeface="Arial" charset="0"/>
              </a:rPr>
            </a:br>
            <a:r>
              <a:rPr lang="de-DE" sz="2400" dirty="0">
                <a:latin typeface="Arial" charset="0"/>
                <a:cs typeface="Arial" charset="0"/>
              </a:rPr>
              <a:t/>
            </a:r>
            <a:br>
              <a:rPr lang="de-DE" sz="2400" dirty="0">
                <a:latin typeface="Arial" charset="0"/>
                <a:cs typeface="Arial" charset="0"/>
              </a:rPr>
            </a:br>
            <a:endParaRPr lang="de-DE" sz="2400" dirty="0">
              <a:latin typeface="Arial" charset="0"/>
              <a:cs typeface="Arial" charset="0"/>
            </a:endParaRPr>
          </a:p>
        </p:txBody>
      </p:sp>
      <p:sp>
        <p:nvSpPr>
          <p:cNvPr id="3195" name="Foliennummernplatzhalter 4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4047048-47D7-4EBA-9830-C82CAFC80730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77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>
                <a:latin typeface="Arial" charset="0"/>
                <a:cs typeface="Arial" charset="0"/>
              </a:rPr>
              <a:t>DriveNow - Tarife</a:t>
            </a:r>
          </a:p>
        </p:txBody>
      </p:sp>
      <p:sp>
        <p:nvSpPr>
          <p:cNvPr id="331778" name="Foliennummernplatzhalter 2"/>
          <p:cNvSpPr>
            <a:spLocks noGrp="1"/>
          </p:cNvSpPr>
          <p:nvPr>
            <p:ph type="sldNum" sz="quarter" idx="13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C45E0CA-BCBC-4D7F-82D3-0AC0F0FB4F05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mtClean="0">
              <a:latin typeface="Arial" charset="0"/>
              <a:cs typeface="Arial" charset="0"/>
            </a:endParaRPr>
          </a:p>
        </p:txBody>
      </p:sp>
      <p:pic>
        <p:nvPicPr>
          <p:cNvPr id="331779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3263" y="1509713"/>
            <a:ext cx="7621587" cy="24860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33178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43075" y="4243388"/>
            <a:ext cx="6584950" cy="1062037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331781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743075" y="5541963"/>
            <a:ext cx="6589713" cy="73342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331782" name="Text Box 11"/>
          <p:cNvSpPr txBox="1">
            <a:spLocks noChangeArrowheads="1"/>
          </p:cNvSpPr>
          <p:nvPr/>
        </p:nvSpPr>
        <p:spPr bwMode="auto">
          <a:xfrm>
            <a:off x="306388" y="5780088"/>
            <a:ext cx="13763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/>
              <a:t>Stundenpakete</a:t>
            </a:r>
          </a:p>
        </p:txBody>
      </p:sp>
      <p:sp>
        <p:nvSpPr>
          <p:cNvPr id="331783" name="Text Box 12"/>
          <p:cNvSpPr txBox="1">
            <a:spLocks noChangeArrowheads="1"/>
          </p:cNvSpPr>
          <p:nvPr/>
        </p:nvSpPr>
        <p:spPr bwMode="auto">
          <a:xfrm>
            <a:off x="315913" y="4630738"/>
            <a:ext cx="10906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/>
              <a:t>Sparpake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1"/>
          <p:cNvSpPr txBox="1">
            <a:spLocks noGrp="1" noChangeArrowheads="1"/>
          </p:cNvSpPr>
          <p:nvPr>
            <p:ph type="body" sz="quarter" idx="4294967295"/>
          </p:nvPr>
        </p:nvSpPr>
        <p:spPr bwMode="auto">
          <a:xfrm>
            <a:off x="334963" y="887413"/>
            <a:ext cx="8377237" cy="5786437"/>
          </a:xfrm>
          <a:extLst/>
        </p:spPr>
        <p:txBody>
          <a:bodyPr wrap="square" numCol="1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endParaRPr lang="de-DE" altLang="de-DE" smtClean="0">
              <a:latin typeface="Arial" charset="0"/>
              <a:cs typeface="Arial" charset="0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endParaRPr lang="de-DE" altLang="de-DE" smtClean="0">
              <a:latin typeface="Arial" charset="0"/>
              <a:cs typeface="Arial" charset="0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altLang="de-DE" smtClean="0">
                <a:latin typeface="Arial" charset="0"/>
                <a:cs typeface="Arial" charset="0"/>
              </a:rPr>
              <a:t>Drei Abrechnungsmöglichkeiten können wir Ihnen anbieten, wenn Ihr Mitarbeiter im Auto </a:t>
            </a:r>
            <a:r>
              <a:rPr lang="de-DE" altLang="de-DE" smtClean="0">
                <a:solidFill>
                  <a:schemeClr val="accent1"/>
                </a:solidFill>
                <a:latin typeface="Arial" charset="0"/>
                <a:cs typeface="Arial" charset="0"/>
              </a:rPr>
              <a:t>„geschäftlich“ </a:t>
            </a:r>
            <a:r>
              <a:rPr lang="de-DE" altLang="de-DE" smtClean="0">
                <a:latin typeface="Arial" charset="0"/>
                <a:cs typeface="Arial" charset="0"/>
              </a:rPr>
              <a:t>wählt:</a:t>
            </a:r>
            <a:endParaRPr lang="de-DE" altLang="de-DE" b="1" smtClean="0">
              <a:solidFill>
                <a:srgbClr val="007FA3"/>
              </a:solidFill>
              <a:latin typeface="Arial" charset="0"/>
              <a:cs typeface="Arial" charset="0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altLang="de-DE" b="1" smtClean="0">
                <a:solidFill>
                  <a:srgbClr val="007FA3"/>
                </a:solidFill>
                <a:latin typeface="Arial" charset="0"/>
                <a:cs typeface="Arial" charset="0"/>
              </a:rPr>
              <a:t>Reisekosten</a:t>
            </a:r>
            <a:br>
              <a:rPr lang="de-DE" altLang="de-DE" b="1" smtClean="0">
                <a:solidFill>
                  <a:srgbClr val="007FA3"/>
                </a:solidFill>
                <a:latin typeface="Arial" charset="0"/>
                <a:cs typeface="Arial" charset="0"/>
              </a:rPr>
            </a:br>
            <a:r>
              <a:rPr lang="de-DE" altLang="de-DE" smtClean="0">
                <a:latin typeface="Arial" charset="0"/>
                <a:cs typeface="Arial" charset="0"/>
              </a:rPr>
              <a:t>Ihr Mitarbeiter erhält nach einer DriveNow Fahrt die DriveNow Rechnung mit geschäftlicher Rechnungsadresse per E-Mail und kann diese über die Reisekosten abrechnen. DriveNow belastet das private Zahlungsmittel oder die persönliche Corporate Kreditkarte des Mitarbeiters.</a:t>
            </a:r>
            <a:endParaRPr lang="de-DE" altLang="de-DE" b="1" smtClean="0">
              <a:solidFill>
                <a:srgbClr val="007FA3"/>
              </a:solidFill>
              <a:latin typeface="Arial" charset="0"/>
              <a:cs typeface="Arial" charset="0"/>
            </a:endParaRP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altLang="de-DE" b="1" smtClean="0">
                <a:solidFill>
                  <a:srgbClr val="007FA3"/>
                </a:solidFill>
                <a:latin typeface="Arial" charset="0"/>
                <a:cs typeface="Arial" charset="0"/>
              </a:rPr>
              <a:t>Firmenkreditkarte </a:t>
            </a:r>
            <a:br>
              <a:rPr lang="de-DE" altLang="de-DE" b="1" smtClean="0">
                <a:solidFill>
                  <a:srgbClr val="007FA3"/>
                </a:solidFill>
                <a:latin typeface="Arial" charset="0"/>
                <a:cs typeface="Arial" charset="0"/>
              </a:rPr>
            </a:br>
            <a:r>
              <a:rPr lang="de-DE" altLang="de-DE" smtClean="0">
                <a:latin typeface="Arial" charset="0"/>
                <a:ea typeface="MS PGothic" pitchFamily="34" charset="-128"/>
                <a:cs typeface="Arial" charset="0"/>
              </a:rPr>
              <a:t>Die geschäftliche DriveNow Fahrt wird direkt von der </a:t>
            </a:r>
            <a:r>
              <a:rPr lang="de-DE" altLang="de-DE" u="sng" smtClean="0">
                <a:latin typeface="Arial" charset="0"/>
                <a:ea typeface="MS PGothic" pitchFamily="34" charset="-128"/>
                <a:cs typeface="Arial" charset="0"/>
              </a:rPr>
              <a:t>zentralen</a:t>
            </a:r>
            <a:r>
              <a:rPr lang="de-DE" altLang="de-DE" smtClean="0">
                <a:latin typeface="Arial" charset="0"/>
                <a:ea typeface="MS PGothic" pitchFamily="34" charset="-128"/>
                <a:cs typeface="Arial" charset="0"/>
              </a:rPr>
              <a:t> Firmenkreditkarte abgebucht. Die Rechnung für die Fahrt wird direkt an eine (vorher mit Ihnen vereinbarte) zentrale E-Mail Adresse geschickt. Ihr Mitarbeiter erhält lediglich eine kurze Kostenübersicht per E-Mail. 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r>
              <a:rPr lang="de-DE" altLang="de-DE" b="1" i="1" smtClean="0">
                <a:solidFill>
                  <a:srgbClr val="007FA3"/>
                </a:solidFill>
                <a:latin typeface="Arial" charset="0"/>
                <a:ea typeface="MS PGothic" pitchFamily="34" charset="-128"/>
                <a:cs typeface="Arial" charset="0"/>
              </a:rPr>
              <a:t/>
            </a:r>
            <a:br>
              <a:rPr lang="de-DE" altLang="de-DE" b="1" i="1" smtClean="0">
                <a:solidFill>
                  <a:srgbClr val="007FA3"/>
                </a:solidFill>
                <a:latin typeface="Arial" charset="0"/>
                <a:ea typeface="MS PGothic" pitchFamily="34" charset="-128"/>
                <a:cs typeface="Arial" charset="0"/>
              </a:rPr>
            </a:br>
            <a:endParaRPr lang="de-DE" altLang="de-DE" smtClean="0">
              <a:latin typeface="Arial" charset="0"/>
              <a:ea typeface="MS PGothic" pitchFamily="34" charset="-128"/>
              <a:cs typeface="Arial" charset="0"/>
            </a:endParaRPr>
          </a:p>
          <a:p>
            <a:pPr algn="just">
              <a:spcBef>
                <a:spcPct val="0"/>
              </a:spcBef>
              <a:buClr>
                <a:schemeClr val="accent1"/>
              </a:buClr>
              <a:buFont typeface="Wingdings" pitchFamily="2" charset="2"/>
              <a:buNone/>
            </a:pPr>
            <a:endParaRPr lang="de-DE" altLang="de-DE" smtClean="0"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49187" name="Foliennummernplatzhalter 2"/>
          <p:cNvSpPr txBox="1">
            <a:spLocks noGrp="1"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BDE0CAD4-6479-43E2-990C-8CC6B0C3FE39}" type="slidenum">
              <a:rPr lang="de-DE" sz="1000">
                <a:solidFill>
                  <a:srgbClr val="FFFFFF"/>
                </a:solidFill>
              </a:rPr>
              <a:pPr/>
              <a:t>11</a:t>
            </a:fld>
            <a:endParaRPr lang="de-DE" sz="1000">
              <a:solidFill>
                <a:srgbClr val="FFFFFF"/>
              </a:solidFill>
            </a:endParaRPr>
          </a:p>
        </p:txBody>
      </p:sp>
      <p:sp>
        <p:nvSpPr>
          <p:cNvPr id="349188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dirty="0" err="1" smtClean="0">
                <a:latin typeface="Arial" charset="0"/>
                <a:cs typeface="Arial" charset="0"/>
              </a:rPr>
              <a:t>DriveNow</a:t>
            </a:r>
            <a:r>
              <a:rPr lang="de-DE" dirty="0" smtClean="0">
                <a:latin typeface="Arial" charset="0"/>
                <a:cs typeface="Arial" charset="0"/>
              </a:rPr>
              <a:t> – Geschäftliche Abrechnungsoption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210" name="Grafik 4"/>
          <p:cNvPicPr>
            <a:picLocks noChangeAspect="1"/>
          </p:cNvPicPr>
          <p:nvPr/>
        </p:nvPicPr>
        <p:blipFill>
          <a:blip r:embed="rId2"/>
          <a:srcRect l="25861" t="11983" r="40323" b="28555"/>
          <a:stretch>
            <a:fillRect/>
          </a:stretch>
        </p:blipFill>
        <p:spPr bwMode="auto">
          <a:xfrm>
            <a:off x="1674813" y="793750"/>
            <a:ext cx="5881687" cy="581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0211" name="Foliennummernplatzhalter 3"/>
          <p:cNvSpPr txBox="1">
            <a:spLocks noGrp="1"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599AEB3C-B81D-40E2-810A-7E5D06BB3C8F}" type="slidenum">
              <a:rPr lang="de-DE" sz="1000">
                <a:solidFill>
                  <a:srgbClr val="FFFFFF"/>
                </a:solidFill>
              </a:rPr>
              <a:pPr/>
              <a:t>12</a:t>
            </a:fld>
            <a:endParaRPr lang="de-DE" sz="1000">
              <a:solidFill>
                <a:srgbClr val="FFFFFF"/>
              </a:solidFill>
            </a:endParaRPr>
          </a:p>
        </p:txBody>
      </p:sp>
      <p:sp>
        <p:nvSpPr>
          <p:cNvPr id="350212" name="Titel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smtClean="0">
                <a:latin typeface="Arial" charset="0"/>
                <a:cs typeface="Arial" charset="0"/>
              </a:rPr>
              <a:t>Beispielrechnung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>
          <a:xfrm>
            <a:off x="334963" y="4562475"/>
            <a:ext cx="8472487" cy="1670050"/>
          </a:xfrm>
        </p:spPr>
        <p:txBody>
          <a:bodyPr/>
          <a:lstStyle/>
          <a:p>
            <a:pPr>
              <a:defRPr/>
            </a:pPr>
            <a:r>
              <a:rPr lang="de-DE" dirty="0"/>
              <a:t>750 € Selbstbehalt </a:t>
            </a:r>
            <a:r>
              <a:rPr lang="de-DE" dirty="0" smtClean="0"/>
              <a:t>		Ohne Zuzahlung</a:t>
            </a:r>
          </a:p>
          <a:p>
            <a:pPr>
              <a:defRPr/>
            </a:pPr>
            <a:r>
              <a:rPr lang="de-DE" dirty="0" smtClean="0"/>
              <a:t>500 € Selbstbehalt		Ohne Zuzahlung nur beim BMW i3</a:t>
            </a:r>
            <a:endParaRPr lang="de-DE" dirty="0"/>
          </a:p>
          <a:p>
            <a:pPr>
              <a:defRPr/>
            </a:pPr>
            <a:r>
              <a:rPr lang="de-DE" dirty="0"/>
              <a:t>350 € Selbstbehalt </a:t>
            </a:r>
            <a:r>
              <a:rPr lang="de-DE" dirty="0" smtClean="0"/>
              <a:t>		99 </a:t>
            </a:r>
            <a:r>
              <a:rPr lang="de-DE" dirty="0"/>
              <a:t>€/Jahr oder 1€ pro Buchung</a:t>
            </a:r>
          </a:p>
          <a:p>
            <a:pPr>
              <a:defRPr/>
            </a:pPr>
            <a:r>
              <a:rPr lang="de-DE" dirty="0" smtClean="0"/>
              <a:t>    0 € </a:t>
            </a:r>
            <a:r>
              <a:rPr lang="de-DE" dirty="0"/>
              <a:t>Selbstbehalt </a:t>
            </a:r>
            <a:r>
              <a:rPr lang="de-DE" dirty="0" smtClean="0"/>
              <a:t>		199 </a:t>
            </a:r>
            <a:r>
              <a:rPr lang="de-DE" dirty="0"/>
              <a:t>€ im Jahr</a:t>
            </a:r>
          </a:p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  <a:defRPr/>
            </a:pPr>
            <a:r>
              <a:rPr lang="de-DE" sz="900" dirty="0" smtClean="0"/>
              <a:t>Die </a:t>
            </a:r>
            <a:r>
              <a:rPr lang="de-DE" sz="900" dirty="0"/>
              <a:t>Reduzierung der Selbstbeteiligung gegen eine jährliche Gebühr kann nur vor Ort in einer Sixt Registrierungsstation abgeschlossen </a:t>
            </a:r>
            <a:r>
              <a:rPr lang="de-DE" sz="900" dirty="0" smtClean="0"/>
              <a:t>werden. Alternativ </a:t>
            </a:r>
            <a:r>
              <a:rPr lang="de-DE" sz="900" dirty="0"/>
              <a:t>kann vor jeder Fahrt im Fahrzeug ein Schutzpaket für 1 € zur Reduzierung der Selbstbeteiligung auf 350 € </a:t>
            </a:r>
            <a:r>
              <a:rPr lang="de-DE" sz="900" dirty="0" err="1"/>
              <a:t>zugebucht</a:t>
            </a:r>
            <a:r>
              <a:rPr lang="de-DE" sz="900" dirty="0"/>
              <a:t> werden.</a:t>
            </a:r>
          </a:p>
        </p:txBody>
      </p:sp>
      <p:sp>
        <p:nvSpPr>
          <p:cNvPr id="382978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latin typeface="Arial" charset="0"/>
                <a:cs typeface="Arial" charset="0"/>
              </a:rPr>
              <a:t>Versicherungen – Vollkasko &amp; Diebstahlschutz </a:t>
            </a:r>
          </a:p>
        </p:txBody>
      </p:sp>
      <p:sp>
        <p:nvSpPr>
          <p:cNvPr id="382979" name="Foliennummernplatzhalter 3"/>
          <p:cNvSpPr>
            <a:spLocks noGrp="1"/>
          </p:cNvSpPr>
          <p:nvPr>
            <p:ph type="sldNum" sz="quarter" idx="13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4EAD3D7-27B7-44C9-B521-BF7A0C6B5BF6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de-DE" smtClean="0">
              <a:latin typeface="Arial" charset="0"/>
              <a:cs typeface="Arial" charset="0"/>
            </a:endParaRPr>
          </a:p>
        </p:txBody>
      </p:sp>
      <p:pic>
        <p:nvPicPr>
          <p:cNvPr id="382980" name="Grafik 5"/>
          <p:cNvPicPr>
            <a:picLocks noChangeAspect="1"/>
          </p:cNvPicPr>
          <p:nvPr/>
        </p:nvPicPr>
        <p:blipFill>
          <a:blip r:embed="rId2"/>
          <a:srcRect l="2396" t="19052" r="2499" b="21864"/>
          <a:stretch>
            <a:fillRect/>
          </a:stretch>
        </p:blipFill>
        <p:spPr bwMode="auto">
          <a:xfrm>
            <a:off x="219075" y="1419225"/>
            <a:ext cx="8696325" cy="300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34919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4849" name="Bild 1" descr="DN_PPT_Pictures_01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-4763" y="0"/>
            <a:ext cx="9156701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4850" name="Titel 1"/>
          <p:cNvSpPr txBox="1">
            <a:spLocks/>
          </p:cNvSpPr>
          <p:nvPr/>
        </p:nvSpPr>
        <p:spPr bwMode="auto">
          <a:xfrm>
            <a:off x="-4763" y="982663"/>
            <a:ext cx="4316413" cy="977900"/>
          </a:xfrm>
          <a:prstGeom prst="rect">
            <a:avLst/>
          </a:prstGeom>
          <a:solidFill>
            <a:schemeClr val="bg1">
              <a:alpha val="90979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altLang="de-DE" sz="2800" b="1"/>
              <a:t> Vielen Dank für </a:t>
            </a:r>
          </a:p>
          <a:p>
            <a:r>
              <a:rPr lang="de-DE" altLang="de-DE" sz="2800" b="1"/>
              <a:t> Ihre Aufmerksamkeit</a:t>
            </a:r>
          </a:p>
        </p:txBody>
      </p:sp>
      <p:sp>
        <p:nvSpPr>
          <p:cNvPr id="334851" name="Titel 1"/>
          <p:cNvSpPr txBox="1">
            <a:spLocks/>
          </p:cNvSpPr>
          <p:nvPr/>
        </p:nvSpPr>
        <p:spPr bwMode="auto">
          <a:xfrm>
            <a:off x="77788" y="2190750"/>
            <a:ext cx="4308475" cy="2976563"/>
          </a:xfrm>
          <a:prstGeom prst="rect">
            <a:avLst/>
          </a:prstGeom>
          <a:solidFill>
            <a:schemeClr val="bg1">
              <a:alpha val="90979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 altLang="de-DE" sz="1600" b="1"/>
          </a:p>
        </p:txBody>
      </p:sp>
      <p:pic>
        <p:nvPicPr>
          <p:cNvPr id="334852" name="Picture 5"/>
          <p:cNvPicPr>
            <a:picLocks noChangeAspect="1" noChangeArrowheads="1"/>
          </p:cNvPicPr>
          <p:nvPr/>
        </p:nvPicPr>
        <p:blipFill>
          <a:blip r:embed="rId3"/>
          <a:srcRect l="6792" r="25584" b="69331"/>
          <a:stretch>
            <a:fillRect/>
          </a:stretch>
        </p:blipFill>
        <p:spPr bwMode="auto">
          <a:xfrm>
            <a:off x="169863" y="3740150"/>
            <a:ext cx="146685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87313" y="2303463"/>
            <a:ext cx="3941762" cy="9223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altLang="de-DE" b="1" dirty="0">
                <a:latin typeface="Arial" pitchFamily="34" charset="0"/>
                <a:cs typeface="Arial" pitchFamily="34" charset="0"/>
              </a:rPr>
              <a:t>Für Rückfragen stehe ich Ihnen jederzeit zur Verfügung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 dirty="0">
              <a:solidFill>
                <a:srgbClr val="363636"/>
              </a:solidFill>
              <a:latin typeface="+mn-lt"/>
              <a:cs typeface="+mn-cs"/>
            </a:endParaRPr>
          </a:p>
        </p:txBody>
      </p:sp>
      <p:sp>
        <p:nvSpPr>
          <p:cNvPr id="334855" name="Textfeld 2"/>
          <p:cNvSpPr txBox="1">
            <a:spLocks noChangeArrowheads="1"/>
          </p:cNvSpPr>
          <p:nvPr/>
        </p:nvSpPr>
        <p:spPr bwMode="auto">
          <a:xfrm>
            <a:off x="2081213" y="4132263"/>
            <a:ext cx="2198687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100" b="1"/>
              <a:t>DriveNow GmbH &amp; Co. KG</a:t>
            </a:r>
          </a:p>
          <a:p>
            <a:r>
              <a:rPr lang="de-DE" sz="1100"/>
              <a:t>Bahnhofstraße 39</a:t>
            </a:r>
          </a:p>
          <a:p>
            <a:r>
              <a:rPr lang="de-DE" sz="1100"/>
              <a:t>40764 Langenfeld </a:t>
            </a:r>
          </a:p>
          <a:p>
            <a:r>
              <a:rPr lang="de-DE" sz="1100">
                <a:hlinkClick r:id="rId4"/>
              </a:rPr>
              <a:t>www.drive-now.com</a:t>
            </a:r>
            <a:endParaRPr lang="de-DE" sz="1100"/>
          </a:p>
          <a:p>
            <a:endParaRPr lang="de-DE" sz="11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585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>
                <a:latin typeface="Arial" charset="0"/>
                <a:cs typeface="Arial" charset="0"/>
              </a:rPr>
              <a:t>DriveNow - Ein Joint Venture von BMW &amp; Sixt</a:t>
            </a:r>
          </a:p>
        </p:txBody>
      </p:sp>
      <p:sp>
        <p:nvSpPr>
          <p:cNvPr id="323586" name="Foliennummernplatzhalter 2"/>
          <p:cNvSpPr txBox="1">
            <a:spLocks noGrp="1"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C7A40B32-BAC3-48D8-A9CD-B465C44DC31B}" type="slidenum">
              <a:rPr lang="de-DE" sz="1000">
                <a:solidFill>
                  <a:schemeClr val="bg1"/>
                </a:solidFill>
              </a:rPr>
              <a:pPr/>
              <a:t>2</a:t>
            </a:fld>
            <a:endParaRPr lang="de-DE" sz="1000">
              <a:solidFill>
                <a:schemeClr val="bg1"/>
              </a:solidFill>
            </a:endParaRPr>
          </a:p>
        </p:txBody>
      </p:sp>
      <p:graphicFrame>
        <p:nvGraphicFramePr>
          <p:cNvPr id="4" name="Diagram 15"/>
          <p:cNvGraphicFramePr/>
          <p:nvPr/>
        </p:nvGraphicFramePr>
        <p:xfrm>
          <a:off x="330200" y="2356634"/>
          <a:ext cx="8496300" cy="32408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23588" name="Grafik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636963" y="5270500"/>
            <a:ext cx="187007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3589" name="Picture 25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416675" y="4049713"/>
            <a:ext cx="881063" cy="46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3590" name="Bild 8" descr="BMWMINIRR_5fbg Kopie.jp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908175" y="4075113"/>
            <a:ext cx="1135063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3591" name="Rectangle 22"/>
          <p:cNvSpPr>
            <a:spLocks noChangeArrowheads="1"/>
          </p:cNvSpPr>
          <p:nvPr/>
        </p:nvSpPr>
        <p:spPr bwMode="auto">
          <a:xfrm>
            <a:off x="323850" y="2362200"/>
            <a:ext cx="8496300" cy="3384550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en-GB" sz="1400">
              <a:latin typeface="Akkurat" pitchFamily="2" charset="0"/>
              <a:ea typeface="MS PGothic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609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smtClean="0">
                <a:latin typeface="Arial" charset="0"/>
                <a:cs typeface="Arial" charset="0"/>
              </a:rPr>
              <a:t>DriveNow - das innovative Mobilitätskonzept</a:t>
            </a:r>
            <a:br>
              <a:rPr lang="de-DE" smtClean="0">
                <a:latin typeface="Arial" charset="0"/>
                <a:cs typeface="Arial" charset="0"/>
              </a:rPr>
            </a:br>
            <a:endParaRPr lang="de-DE" smtClean="0">
              <a:latin typeface="Arial" charset="0"/>
              <a:cs typeface="Arial" charset="0"/>
            </a:endParaRPr>
          </a:p>
        </p:txBody>
      </p:sp>
      <p:sp>
        <p:nvSpPr>
          <p:cNvPr id="324610" name="Foliennummernplatzhalter 2"/>
          <p:cNvSpPr txBox="1">
            <a:spLocks noGrp="1"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2FE3E999-D56C-4DD0-9B23-24D148250948}" type="slidenum">
              <a:rPr lang="de-DE" sz="1000">
                <a:solidFill>
                  <a:schemeClr val="bg1"/>
                </a:solidFill>
              </a:rPr>
              <a:pPr/>
              <a:t>3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324611" name="Inhaltsplatzhalter 2"/>
          <p:cNvSpPr txBox="1">
            <a:spLocks/>
          </p:cNvSpPr>
          <p:nvPr/>
        </p:nvSpPr>
        <p:spPr bwMode="auto">
          <a:xfrm>
            <a:off x="325438" y="1731963"/>
            <a:ext cx="5695950" cy="563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3538" indent="-363538"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de-DE" altLang="de-DE" sz="1600" b="1" dirty="0">
                <a:ea typeface="MS PGothic" pitchFamily="34" charset="-128"/>
                <a:sym typeface="Arial" charset="0"/>
              </a:rPr>
              <a:t>Urbane Mobilität: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erfolgreicher Start in den Städten Berlin, Hamburg, München, Köln, Düsseldorf, Wien, London, Kopenhagen, Stockholm </a:t>
            </a:r>
          </a:p>
          <a:p>
            <a:pPr marL="363538" indent="-363538"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endParaRPr lang="de-DE" altLang="de-DE" sz="1000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de-DE" altLang="de-DE" sz="1600" b="1" dirty="0">
                <a:ea typeface="MS PGothic" pitchFamily="34" charset="-128"/>
                <a:sym typeface="Arial" charset="0"/>
              </a:rPr>
              <a:t>Schnelles Wachstum: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Über </a:t>
            </a:r>
            <a:r>
              <a:rPr lang="de-DE" altLang="de-DE" sz="1600" dirty="0" smtClean="0">
                <a:ea typeface="MS PGothic" pitchFamily="34" charset="-128"/>
                <a:sym typeface="Arial" charset="0"/>
              </a:rPr>
              <a:t>580.000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Kunden, </a:t>
            </a:r>
            <a:br>
              <a:rPr lang="de-DE" altLang="de-DE" sz="1600" dirty="0">
                <a:ea typeface="MS PGothic" pitchFamily="34" charset="-128"/>
                <a:sym typeface="Arial" charset="0"/>
              </a:rPr>
            </a:br>
            <a:r>
              <a:rPr lang="de-DE" altLang="de-DE" sz="1600" dirty="0" smtClean="0">
                <a:ea typeface="MS PGothic" pitchFamily="34" charset="-128"/>
                <a:sym typeface="Arial" charset="0"/>
              </a:rPr>
              <a:t>4.000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Premiumfahrzeuge</a:t>
            </a: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endParaRPr lang="de-DE" altLang="de-DE" sz="1600" b="1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de-DE" altLang="de-DE" sz="1600" b="1" dirty="0">
                <a:ea typeface="MS PGothic" pitchFamily="34" charset="-128"/>
                <a:sym typeface="Arial" charset="0"/>
              </a:rPr>
              <a:t>Flexibles und modernes Konzept: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ohne feste Annahme- und Rückgabestationen</a:t>
            </a: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None/>
            </a:pPr>
            <a:endParaRPr lang="de-DE" altLang="de-DE" sz="1600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de-DE" altLang="de-DE" sz="1600" b="1" dirty="0" err="1">
                <a:ea typeface="MS PGothic" pitchFamily="34" charset="-128"/>
                <a:sym typeface="Arial" charset="0"/>
              </a:rPr>
              <a:t>One</a:t>
            </a:r>
            <a:r>
              <a:rPr lang="de-DE" altLang="de-DE" sz="1600" b="1" dirty="0">
                <a:ea typeface="MS PGothic" pitchFamily="34" charset="-128"/>
                <a:sym typeface="Arial" charset="0"/>
              </a:rPr>
              <a:t>-Way Fahrten: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Abgabe flexibel im Geschäftsgebiet auf allen öffentlichen Parkplätzen</a:t>
            </a:r>
          </a:p>
          <a:p>
            <a:pPr marL="363538" indent="-363538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ü"/>
            </a:pPr>
            <a:endParaRPr lang="de-DE" altLang="de-DE" sz="1600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de-DE" altLang="de-DE" sz="1600" b="1" dirty="0">
                <a:ea typeface="MS PGothic" pitchFamily="34" charset="-128"/>
                <a:sym typeface="Arial" charset="0"/>
              </a:rPr>
              <a:t>Begeisterte Kunden: 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90% sind zufrieden mit </a:t>
            </a:r>
            <a:r>
              <a:rPr lang="de-DE" altLang="de-DE" sz="1600" dirty="0" err="1">
                <a:ea typeface="MS PGothic" pitchFamily="34" charset="-128"/>
                <a:sym typeface="Arial" charset="0"/>
              </a:rPr>
              <a:t>DriveNow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 und würden </a:t>
            </a:r>
            <a:r>
              <a:rPr lang="de-DE" altLang="de-DE" sz="1600" dirty="0" err="1">
                <a:ea typeface="MS PGothic" pitchFamily="34" charset="-128"/>
                <a:sym typeface="Arial" charset="0"/>
              </a:rPr>
              <a:t>DriveNow</a:t>
            </a:r>
            <a:r>
              <a:rPr lang="de-DE" altLang="de-DE" sz="1600" dirty="0">
                <a:ea typeface="MS PGothic" pitchFamily="34" charset="-128"/>
                <a:sym typeface="Arial" charset="0"/>
              </a:rPr>
              <a:t> weiterempfehlen</a:t>
            </a:r>
          </a:p>
          <a:p>
            <a:pPr marL="363538" indent="-363538">
              <a:spcBef>
                <a:spcPct val="20000"/>
              </a:spcBef>
              <a:buFont typeface="Wingdings" pitchFamily="2" charset="2"/>
              <a:buChar char="§"/>
            </a:pPr>
            <a:endParaRPr lang="de-DE" altLang="de-DE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buFont typeface="Symbol" pitchFamily="18" charset="2"/>
              <a:buNone/>
            </a:pPr>
            <a:endParaRPr lang="de-DE" altLang="de-DE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buFont typeface="Symbol" pitchFamily="18" charset="2"/>
              <a:buNone/>
            </a:pPr>
            <a:endParaRPr lang="de-DE" altLang="de-DE" dirty="0">
              <a:ea typeface="MS PGothic" pitchFamily="34" charset="-128"/>
              <a:sym typeface="Arial" charset="0"/>
            </a:endParaRPr>
          </a:p>
          <a:p>
            <a:pPr marL="363538" indent="-363538">
              <a:spcBef>
                <a:spcPct val="20000"/>
              </a:spcBef>
              <a:buFont typeface="Symbol" pitchFamily="18" charset="2"/>
              <a:buNone/>
            </a:pPr>
            <a:endParaRPr lang="de-DE" altLang="de-DE" sz="1600" dirty="0">
              <a:ea typeface="MS PGothic" pitchFamily="34" charset="-128"/>
              <a:sym typeface="Arial" charset="0"/>
            </a:endParaRPr>
          </a:p>
        </p:txBody>
      </p:sp>
      <p:pic>
        <p:nvPicPr>
          <p:cNvPr id="324612" name="Picture 3" descr="K:\2. Marketing &amp; Sales\2014\01_Zentral\07_Artwork\01_Bilder\01_Berlin\HigRes\DriveNow_PR_IMG_7379_byDavidUlrich.jpg"/>
          <p:cNvPicPr>
            <a:picLocks noChangeAspect="1" noChangeArrowheads="1"/>
          </p:cNvPicPr>
          <p:nvPr/>
        </p:nvPicPr>
        <p:blipFill>
          <a:blip r:embed="rId2"/>
          <a:srcRect l="32465" t="16484" r="10796" b="54092"/>
          <a:stretch>
            <a:fillRect/>
          </a:stretch>
        </p:blipFill>
        <p:spPr bwMode="auto">
          <a:xfrm>
            <a:off x="6045200" y="4019550"/>
            <a:ext cx="2771775" cy="215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4613" name="Picture 4" descr="K:\2. Marketing &amp; Sales\2014\01_Zentral\07_Artwork\01_Bilder\06_Bilder Website\Header_Party\party_OND_8935_motiv_2-2.jpg"/>
          <p:cNvPicPr>
            <a:picLocks noChangeAspect="1" noChangeArrowheads="1"/>
          </p:cNvPicPr>
          <p:nvPr/>
        </p:nvPicPr>
        <p:blipFill>
          <a:blip r:embed="rId3"/>
          <a:srcRect l="41193" t="48947" r="31749" b="19373"/>
          <a:stretch>
            <a:fillRect/>
          </a:stretch>
        </p:blipFill>
        <p:spPr bwMode="auto">
          <a:xfrm>
            <a:off x="6027738" y="1757363"/>
            <a:ext cx="2771775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6657" name="Grafik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94425" y="4610100"/>
            <a:ext cx="2660650" cy="204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6658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>
                <a:latin typeface="Arial" charset="0"/>
                <a:cs typeface="Arial" charset="0"/>
              </a:rPr>
              <a:t>DriveNow Fahrzeugflotte</a:t>
            </a:r>
          </a:p>
        </p:txBody>
      </p:sp>
      <p:grpSp>
        <p:nvGrpSpPr>
          <p:cNvPr id="326659" name="Gruppieren 24"/>
          <p:cNvGrpSpPr>
            <a:grpSpLocks/>
          </p:cNvGrpSpPr>
          <p:nvPr/>
        </p:nvGrpSpPr>
        <p:grpSpPr bwMode="auto">
          <a:xfrm>
            <a:off x="3236913" y="4940300"/>
            <a:ext cx="2728912" cy="1701800"/>
            <a:chOff x="2513359" y="1985234"/>
            <a:chExt cx="1907664" cy="1190287"/>
          </a:xfrm>
        </p:grpSpPr>
        <p:sp>
          <p:nvSpPr>
            <p:cNvPr id="9" name="Textfeld 8"/>
            <p:cNvSpPr txBox="1"/>
            <p:nvPr/>
          </p:nvSpPr>
          <p:spPr bwMode="gray">
            <a:xfrm>
              <a:off x="3127052" y="2940128"/>
              <a:ext cx="689157" cy="23539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125000"/>
                <a:tabLst>
                  <a:tab pos="180975" algn="l"/>
                </a:tabLst>
                <a:defRPr/>
              </a:pPr>
              <a:r>
                <a:rPr lang="de-DE" sz="1600" spc="-20" dirty="0">
                  <a:latin typeface="Arial"/>
                  <a:cs typeface="Arial"/>
                </a:rPr>
                <a:t>BMW X1</a:t>
              </a:r>
            </a:p>
          </p:txBody>
        </p:sp>
        <p:pic>
          <p:nvPicPr>
            <p:cNvPr id="326679" name="Bild 14" descr="bmw_x1_quer.png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gray">
            <a:xfrm>
              <a:off x="2513359" y="1985234"/>
              <a:ext cx="1907664" cy="10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Textfeld 11"/>
          <p:cNvSpPr txBox="1"/>
          <p:nvPr/>
        </p:nvSpPr>
        <p:spPr bwMode="gray">
          <a:xfrm>
            <a:off x="3746500" y="2765425"/>
            <a:ext cx="1482725" cy="3365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25000"/>
              <a:tabLst>
                <a:tab pos="180975" algn="l"/>
              </a:tabLst>
              <a:defRPr/>
            </a:pPr>
            <a:r>
              <a:rPr lang="de-DE" sz="1600" spc="-20" dirty="0">
                <a:latin typeface="Arial"/>
                <a:cs typeface="Arial"/>
              </a:rPr>
              <a:t>MINI Clubman</a:t>
            </a:r>
          </a:p>
        </p:txBody>
      </p:sp>
      <p:sp>
        <p:nvSpPr>
          <p:cNvPr id="326661" name="Foliennummernplatzhalter 29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FAB9DA7-935B-43CD-9B9A-9781286293ED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smtClean="0">
              <a:latin typeface="Arial" charset="0"/>
              <a:cs typeface="Arial" charset="0"/>
            </a:endParaRPr>
          </a:p>
        </p:txBody>
      </p:sp>
      <p:grpSp>
        <p:nvGrpSpPr>
          <p:cNvPr id="326662" name="Gruppieren 23"/>
          <p:cNvGrpSpPr>
            <a:grpSpLocks/>
          </p:cNvGrpSpPr>
          <p:nvPr/>
        </p:nvGrpSpPr>
        <p:grpSpPr bwMode="auto">
          <a:xfrm>
            <a:off x="117475" y="3168650"/>
            <a:ext cx="3089275" cy="1749425"/>
            <a:chOff x="5648699" y="4840486"/>
            <a:chExt cx="2160807" cy="1223314"/>
          </a:xfrm>
        </p:grpSpPr>
        <p:pic>
          <p:nvPicPr>
            <p:cNvPr id="326676" name="Picture 2" descr="C:\Berit\mini_countryman_quer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5648699" y="4840486"/>
              <a:ext cx="2160807" cy="1223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Textfeld 30"/>
            <p:cNvSpPr txBox="1"/>
            <p:nvPr/>
          </p:nvSpPr>
          <p:spPr bwMode="gray">
            <a:xfrm>
              <a:off x="6103956" y="5825132"/>
              <a:ext cx="1243630" cy="23533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125000"/>
                <a:tabLst>
                  <a:tab pos="180975" algn="l"/>
                </a:tabLst>
                <a:defRPr/>
              </a:pPr>
              <a:r>
                <a:rPr lang="de-DE" sz="1600" spc="-20" dirty="0">
                  <a:latin typeface="Arial"/>
                  <a:cs typeface="Arial"/>
                </a:rPr>
                <a:t>MINI Countryman</a:t>
              </a:r>
            </a:p>
          </p:txBody>
        </p:sp>
      </p:grpSp>
      <p:grpSp>
        <p:nvGrpSpPr>
          <p:cNvPr id="326663" name="Gruppieren 21"/>
          <p:cNvGrpSpPr>
            <a:grpSpLocks/>
          </p:cNvGrpSpPr>
          <p:nvPr/>
        </p:nvGrpSpPr>
        <p:grpSpPr bwMode="auto">
          <a:xfrm>
            <a:off x="6067425" y="1474788"/>
            <a:ext cx="2727325" cy="1665287"/>
            <a:chOff x="5854305" y="3432908"/>
            <a:chExt cx="1907664" cy="1163410"/>
          </a:xfrm>
        </p:grpSpPr>
        <p:sp>
          <p:nvSpPr>
            <p:cNvPr id="11" name="Textfeld 10"/>
            <p:cNvSpPr txBox="1"/>
            <p:nvPr/>
          </p:nvSpPr>
          <p:spPr bwMode="gray">
            <a:xfrm>
              <a:off x="6333997" y="4360087"/>
              <a:ext cx="874994" cy="236231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SzPct val="125000"/>
                <a:tabLst>
                  <a:tab pos="180975" algn="l"/>
                </a:tabLst>
                <a:defRPr/>
              </a:pPr>
              <a:r>
                <a:rPr lang="de-DE" sz="1600" spc="-20" dirty="0">
                  <a:latin typeface="Arial"/>
                  <a:cs typeface="Arial"/>
                </a:rPr>
                <a:t>MINI Cabrio</a:t>
              </a:r>
            </a:p>
          </p:txBody>
        </p:sp>
        <p:pic>
          <p:nvPicPr>
            <p:cNvPr id="326675" name="Bild 17" descr="mini_cabrio_quer.pn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gray">
            <a:xfrm>
              <a:off x="5854305" y="3432908"/>
              <a:ext cx="1907664" cy="1079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26664" name="Textfeld 26"/>
          <p:cNvSpPr txBox="1">
            <a:spLocks noChangeArrowheads="1"/>
          </p:cNvSpPr>
          <p:nvPr/>
        </p:nvSpPr>
        <p:spPr bwMode="gray">
          <a:xfrm>
            <a:off x="7302500" y="6329363"/>
            <a:ext cx="8953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SzPct val="125000"/>
              <a:tabLst>
                <a:tab pos="180975" algn="l"/>
              </a:tabLst>
            </a:pPr>
            <a:r>
              <a:rPr lang="de-DE" sz="1600"/>
              <a:t>BMW i3</a:t>
            </a:r>
          </a:p>
        </p:txBody>
      </p:sp>
      <p:pic>
        <p:nvPicPr>
          <p:cNvPr id="326665" name="Picture 24" descr="DriveNow_BMW_1SeriesLCI_Silhouette_Transvers_GlacierSilver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44813" y="2887663"/>
            <a:ext cx="3279775" cy="196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6666" name="Picture 25" descr="DriveNow_NEWMINI_Hatch_3Door_Silhouette_Transvers_MidnightBlack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-150813" y="1017588"/>
            <a:ext cx="3298826" cy="2474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6667" name="Picture 27" descr="DriveNow_MINI_Clubman_Silhouette_PureBurgundy_Transvers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982913" y="1016000"/>
            <a:ext cx="3173412" cy="237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6668" name="Textfeld 26"/>
          <p:cNvSpPr txBox="1">
            <a:spLocks noChangeArrowheads="1"/>
          </p:cNvSpPr>
          <p:nvPr/>
        </p:nvSpPr>
        <p:spPr bwMode="gray">
          <a:xfrm>
            <a:off x="769938" y="2776538"/>
            <a:ext cx="15763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SzPct val="125000"/>
              <a:tabLst>
                <a:tab pos="180975" algn="l"/>
              </a:tabLst>
            </a:pPr>
            <a:r>
              <a:rPr lang="de-DE" sz="1600"/>
              <a:t>MINI 3-/5-Türer</a:t>
            </a:r>
          </a:p>
        </p:txBody>
      </p:sp>
      <p:sp>
        <p:nvSpPr>
          <p:cNvPr id="326669" name="Textfeld 26"/>
          <p:cNvSpPr txBox="1">
            <a:spLocks noChangeArrowheads="1"/>
          </p:cNvSpPr>
          <p:nvPr/>
        </p:nvSpPr>
        <p:spPr bwMode="gray">
          <a:xfrm>
            <a:off x="4167188" y="4551363"/>
            <a:ext cx="10318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SzPct val="125000"/>
              <a:tabLst>
                <a:tab pos="180975" algn="l"/>
              </a:tabLst>
            </a:pPr>
            <a:r>
              <a:rPr lang="de-DE" sz="1600"/>
              <a:t>BMW 1er</a:t>
            </a:r>
          </a:p>
        </p:txBody>
      </p:sp>
      <p:pic>
        <p:nvPicPr>
          <p:cNvPr id="326670" name="Picture 33" descr="DriveNow_BMW_2SeriesConvertible_Silhouette_MineralWhite_Transvers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3188" y="4565650"/>
            <a:ext cx="3282950" cy="197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6671" name="Textfeld 26"/>
          <p:cNvSpPr txBox="1">
            <a:spLocks noChangeArrowheads="1"/>
          </p:cNvSpPr>
          <p:nvPr/>
        </p:nvSpPr>
        <p:spPr bwMode="gray">
          <a:xfrm>
            <a:off x="833438" y="6288088"/>
            <a:ext cx="16859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SzPct val="125000"/>
              <a:tabLst>
                <a:tab pos="180975" algn="l"/>
              </a:tabLst>
            </a:pPr>
            <a:r>
              <a:rPr lang="de-DE" sz="1600"/>
              <a:t>BMW 2er Cabrio</a:t>
            </a:r>
          </a:p>
        </p:txBody>
      </p:sp>
      <p:pic>
        <p:nvPicPr>
          <p:cNvPr id="326672" name="Picture 35" descr="DriveNow_BMW_ActiveTourer_Silhouette_Transvers_Glaciersilver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76925" y="2814638"/>
            <a:ext cx="3454400" cy="207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6673" name="Textfeld 26"/>
          <p:cNvSpPr txBox="1">
            <a:spLocks noChangeArrowheads="1"/>
          </p:cNvSpPr>
          <p:nvPr/>
        </p:nvSpPr>
        <p:spPr bwMode="gray">
          <a:xfrm>
            <a:off x="6372225" y="4492625"/>
            <a:ext cx="22971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Clr>
                <a:schemeClr val="accent2"/>
              </a:buClr>
              <a:buSzPct val="125000"/>
              <a:tabLst>
                <a:tab pos="180975" algn="l"/>
              </a:tabLst>
            </a:pPr>
            <a:r>
              <a:rPr lang="de-DE" sz="1600"/>
              <a:t>BMW 2er Active Tour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99B9D5-0DC3-42E5-9843-941553D5621B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grpSp>
        <p:nvGrpSpPr>
          <p:cNvPr id="38" name="Gruppieren 16"/>
          <p:cNvGrpSpPr>
            <a:grpSpLocks/>
          </p:cNvGrpSpPr>
          <p:nvPr/>
        </p:nvGrpSpPr>
        <p:grpSpPr bwMode="auto">
          <a:xfrm>
            <a:off x="2881313" y="1606283"/>
            <a:ext cx="3810000" cy="4791075"/>
            <a:chOff x="2880519" y="1624919"/>
            <a:chExt cx="3810000" cy="4791076"/>
          </a:xfrm>
        </p:grpSpPr>
        <p:pic>
          <p:nvPicPr>
            <p:cNvPr id="39" name="Picture 33" descr="http://www.lmi-dach.com/fileadmin/Bilder_Homepage/karte_dach.png"/>
            <p:cNvPicPr>
              <a:picLocks noChangeAspect="1" noChangeArrowheads="1"/>
            </p:cNvPicPr>
            <p:nvPr/>
          </p:nvPicPr>
          <p:blipFill>
            <a:blip r:embed="rId2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0519" y="1624919"/>
              <a:ext cx="3810000" cy="4791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Freihandform 39"/>
            <p:cNvSpPr/>
            <p:nvPr/>
          </p:nvSpPr>
          <p:spPr>
            <a:xfrm>
              <a:off x="2924969" y="5247595"/>
              <a:ext cx="1658937" cy="1038225"/>
            </a:xfrm>
            <a:custGeom>
              <a:avLst/>
              <a:gdLst>
                <a:gd name="connsiteX0" fmla="*/ 675967 w 1659193"/>
                <a:gd name="connsiteY0" fmla="*/ 76200 h 1037303"/>
                <a:gd name="connsiteX1" fmla="*/ 730045 w 1659193"/>
                <a:gd name="connsiteY1" fmla="*/ 117987 h 1037303"/>
                <a:gd name="connsiteX2" fmla="*/ 825909 w 1659193"/>
                <a:gd name="connsiteY2" fmla="*/ 90948 h 1037303"/>
                <a:gd name="connsiteX3" fmla="*/ 870155 w 1659193"/>
                <a:gd name="connsiteY3" fmla="*/ 86032 h 1037303"/>
                <a:gd name="connsiteX4" fmla="*/ 904567 w 1659193"/>
                <a:gd name="connsiteY4" fmla="*/ 86032 h 1037303"/>
                <a:gd name="connsiteX5" fmla="*/ 943896 w 1659193"/>
                <a:gd name="connsiteY5" fmla="*/ 95864 h 1037303"/>
                <a:gd name="connsiteX6" fmla="*/ 970935 w 1659193"/>
                <a:gd name="connsiteY6" fmla="*/ 95864 h 1037303"/>
                <a:gd name="connsiteX7" fmla="*/ 985684 w 1659193"/>
                <a:gd name="connsiteY7" fmla="*/ 73742 h 1037303"/>
                <a:gd name="connsiteX8" fmla="*/ 956187 w 1659193"/>
                <a:gd name="connsiteY8" fmla="*/ 31955 h 1037303"/>
                <a:gd name="connsiteX9" fmla="*/ 993058 w 1659193"/>
                <a:gd name="connsiteY9" fmla="*/ 0 h 1037303"/>
                <a:gd name="connsiteX10" fmla="*/ 1032387 w 1659193"/>
                <a:gd name="connsiteY10" fmla="*/ 34413 h 1037303"/>
                <a:gd name="connsiteX11" fmla="*/ 1071716 w 1659193"/>
                <a:gd name="connsiteY11" fmla="*/ 54077 h 1037303"/>
                <a:gd name="connsiteX12" fmla="*/ 1120877 w 1659193"/>
                <a:gd name="connsiteY12" fmla="*/ 76200 h 1037303"/>
                <a:gd name="connsiteX13" fmla="*/ 1224116 w 1659193"/>
                <a:gd name="connsiteY13" fmla="*/ 100780 h 1037303"/>
                <a:gd name="connsiteX14" fmla="*/ 1270819 w 1659193"/>
                <a:gd name="connsiteY14" fmla="*/ 122903 h 1037303"/>
                <a:gd name="connsiteX15" fmla="*/ 1297858 w 1659193"/>
                <a:gd name="connsiteY15" fmla="*/ 142567 h 1037303"/>
                <a:gd name="connsiteX16" fmla="*/ 1300316 w 1659193"/>
                <a:gd name="connsiteY16" fmla="*/ 191729 h 1037303"/>
                <a:gd name="connsiteX17" fmla="*/ 1275735 w 1659193"/>
                <a:gd name="connsiteY17" fmla="*/ 221226 h 1037303"/>
                <a:gd name="connsiteX18" fmla="*/ 1265903 w 1659193"/>
                <a:gd name="connsiteY18" fmla="*/ 285135 h 1037303"/>
                <a:gd name="connsiteX19" fmla="*/ 1265903 w 1659193"/>
                <a:gd name="connsiteY19" fmla="*/ 326922 h 1037303"/>
                <a:gd name="connsiteX20" fmla="*/ 1452716 w 1659193"/>
                <a:gd name="connsiteY20" fmla="*/ 439993 h 1037303"/>
                <a:gd name="connsiteX21" fmla="*/ 1511709 w 1659193"/>
                <a:gd name="connsiteY21" fmla="*/ 378542 h 1037303"/>
                <a:gd name="connsiteX22" fmla="*/ 1541206 w 1659193"/>
                <a:gd name="connsiteY22" fmla="*/ 435077 h 1037303"/>
                <a:gd name="connsiteX23" fmla="*/ 1553496 w 1659193"/>
                <a:gd name="connsiteY23" fmla="*/ 484238 h 1037303"/>
                <a:gd name="connsiteX24" fmla="*/ 1607574 w 1659193"/>
                <a:gd name="connsiteY24" fmla="*/ 540774 h 1037303"/>
                <a:gd name="connsiteX25" fmla="*/ 1659193 w 1659193"/>
                <a:gd name="connsiteY25" fmla="*/ 663677 h 1037303"/>
                <a:gd name="connsiteX26" fmla="*/ 1526458 w 1659193"/>
                <a:gd name="connsiteY26" fmla="*/ 825909 h 1037303"/>
                <a:gd name="connsiteX27" fmla="*/ 1273277 w 1659193"/>
                <a:gd name="connsiteY27" fmla="*/ 958645 h 1037303"/>
                <a:gd name="connsiteX28" fmla="*/ 1251155 w 1659193"/>
                <a:gd name="connsiteY28" fmla="*/ 963561 h 1037303"/>
                <a:gd name="connsiteX29" fmla="*/ 771832 w 1659193"/>
                <a:gd name="connsiteY29" fmla="*/ 1037303 h 1037303"/>
                <a:gd name="connsiteX30" fmla="*/ 734961 w 1659193"/>
                <a:gd name="connsiteY30" fmla="*/ 1025013 h 1037303"/>
                <a:gd name="connsiteX31" fmla="*/ 135193 w 1659193"/>
                <a:gd name="connsiteY31" fmla="*/ 951271 h 1037303"/>
                <a:gd name="connsiteX32" fmla="*/ 0 w 1659193"/>
                <a:gd name="connsiteY32" fmla="*/ 685800 h 1037303"/>
                <a:gd name="connsiteX33" fmla="*/ 176980 w 1659193"/>
                <a:gd name="connsiteY33" fmla="*/ 317090 h 1037303"/>
                <a:gd name="connsiteX34" fmla="*/ 184355 w 1659193"/>
                <a:gd name="connsiteY34" fmla="*/ 297426 h 1037303"/>
                <a:gd name="connsiteX35" fmla="*/ 290051 w 1659193"/>
                <a:gd name="connsiteY35" fmla="*/ 152400 h 1037303"/>
                <a:gd name="connsiteX36" fmla="*/ 422787 w 1659193"/>
                <a:gd name="connsiteY36" fmla="*/ 61451 h 1037303"/>
                <a:gd name="connsiteX37" fmla="*/ 585019 w 1659193"/>
                <a:gd name="connsiteY37" fmla="*/ 110613 h 1037303"/>
                <a:gd name="connsiteX38" fmla="*/ 675967 w 1659193"/>
                <a:gd name="connsiteY38" fmla="*/ 76200 h 103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659193" h="1037303">
                  <a:moveTo>
                    <a:pt x="675967" y="76200"/>
                  </a:moveTo>
                  <a:lnTo>
                    <a:pt x="730045" y="117987"/>
                  </a:lnTo>
                  <a:lnTo>
                    <a:pt x="825909" y="90948"/>
                  </a:lnTo>
                  <a:lnTo>
                    <a:pt x="870155" y="86032"/>
                  </a:lnTo>
                  <a:lnTo>
                    <a:pt x="904567" y="86032"/>
                  </a:lnTo>
                  <a:lnTo>
                    <a:pt x="943896" y="95864"/>
                  </a:lnTo>
                  <a:lnTo>
                    <a:pt x="970935" y="95864"/>
                  </a:lnTo>
                  <a:lnTo>
                    <a:pt x="985684" y="73742"/>
                  </a:lnTo>
                  <a:lnTo>
                    <a:pt x="956187" y="31955"/>
                  </a:lnTo>
                  <a:lnTo>
                    <a:pt x="993058" y="0"/>
                  </a:lnTo>
                  <a:lnTo>
                    <a:pt x="1032387" y="34413"/>
                  </a:lnTo>
                  <a:lnTo>
                    <a:pt x="1071716" y="54077"/>
                  </a:lnTo>
                  <a:lnTo>
                    <a:pt x="1120877" y="76200"/>
                  </a:lnTo>
                  <a:lnTo>
                    <a:pt x="1224116" y="100780"/>
                  </a:lnTo>
                  <a:lnTo>
                    <a:pt x="1270819" y="122903"/>
                  </a:lnTo>
                  <a:lnTo>
                    <a:pt x="1297858" y="142567"/>
                  </a:lnTo>
                  <a:lnTo>
                    <a:pt x="1300316" y="191729"/>
                  </a:lnTo>
                  <a:lnTo>
                    <a:pt x="1275735" y="221226"/>
                  </a:lnTo>
                  <a:lnTo>
                    <a:pt x="1265903" y="285135"/>
                  </a:lnTo>
                  <a:lnTo>
                    <a:pt x="1265903" y="326922"/>
                  </a:lnTo>
                  <a:lnTo>
                    <a:pt x="1452716" y="439993"/>
                  </a:lnTo>
                  <a:lnTo>
                    <a:pt x="1511709" y="378542"/>
                  </a:lnTo>
                  <a:lnTo>
                    <a:pt x="1541206" y="435077"/>
                  </a:lnTo>
                  <a:lnTo>
                    <a:pt x="1553496" y="484238"/>
                  </a:lnTo>
                  <a:lnTo>
                    <a:pt x="1607574" y="540774"/>
                  </a:lnTo>
                  <a:lnTo>
                    <a:pt x="1659193" y="663677"/>
                  </a:lnTo>
                  <a:lnTo>
                    <a:pt x="1526458" y="825909"/>
                  </a:lnTo>
                  <a:lnTo>
                    <a:pt x="1273277" y="958645"/>
                  </a:lnTo>
                  <a:lnTo>
                    <a:pt x="1251155" y="963561"/>
                  </a:lnTo>
                  <a:lnTo>
                    <a:pt x="771832" y="1037303"/>
                  </a:lnTo>
                  <a:lnTo>
                    <a:pt x="734961" y="1025013"/>
                  </a:lnTo>
                  <a:lnTo>
                    <a:pt x="135193" y="951271"/>
                  </a:lnTo>
                  <a:lnTo>
                    <a:pt x="0" y="685800"/>
                  </a:lnTo>
                  <a:lnTo>
                    <a:pt x="176980" y="317090"/>
                  </a:lnTo>
                  <a:lnTo>
                    <a:pt x="184355" y="297426"/>
                  </a:lnTo>
                  <a:lnTo>
                    <a:pt x="290051" y="152400"/>
                  </a:lnTo>
                  <a:lnTo>
                    <a:pt x="422787" y="61451"/>
                  </a:lnTo>
                  <a:lnTo>
                    <a:pt x="585019" y="110613"/>
                  </a:lnTo>
                  <a:lnTo>
                    <a:pt x="675967" y="76200"/>
                  </a:lnTo>
                  <a:close/>
                </a:path>
              </a:pathLst>
            </a:custGeom>
            <a:solidFill>
              <a:schemeClr val="bg1"/>
            </a:solidFill>
            <a:ln w="1905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41" name="Ellipse 40"/>
          <p:cNvSpPr/>
          <p:nvPr/>
        </p:nvSpPr>
        <p:spPr>
          <a:xfrm>
            <a:off x="5225951" y="2846121"/>
            <a:ext cx="198438" cy="198437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2" name="Ellipse 41"/>
          <p:cNvSpPr/>
          <p:nvPr/>
        </p:nvSpPr>
        <p:spPr>
          <a:xfrm>
            <a:off x="4786313" y="4909871"/>
            <a:ext cx="196850" cy="198437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3" name="Ellipse 42"/>
          <p:cNvSpPr/>
          <p:nvPr/>
        </p:nvSpPr>
        <p:spPr>
          <a:xfrm>
            <a:off x="5997592" y="4919303"/>
            <a:ext cx="198437" cy="198438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4" name="Ellipse 43"/>
          <p:cNvSpPr/>
          <p:nvPr/>
        </p:nvSpPr>
        <p:spPr>
          <a:xfrm>
            <a:off x="3386138" y="3312846"/>
            <a:ext cx="198437" cy="198437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5" name="Ellipse 44"/>
          <p:cNvSpPr/>
          <p:nvPr/>
        </p:nvSpPr>
        <p:spPr>
          <a:xfrm>
            <a:off x="3446463" y="3536683"/>
            <a:ext cx="198437" cy="198438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6" name="Ellipse 45"/>
          <p:cNvSpPr/>
          <p:nvPr/>
        </p:nvSpPr>
        <p:spPr>
          <a:xfrm>
            <a:off x="4225925" y="2444483"/>
            <a:ext cx="198438" cy="198438"/>
          </a:xfrm>
          <a:prstGeom prst="ellipse">
            <a:avLst/>
          </a:prstGeom>
          <a:solidFill>
            <a:schemeClr val="accent6"/>
          </a:solidFill>
          <a:ln w="12700" cap="flat" cmpd="sng" algn="ctr">
            <a:solidFill>
              <a:schemeClr val="bg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4398963" y="2393683"/>
            <a:ext cx="9652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>
                <a:solidFill>
                  <a:srgbClr val="363636"/>
                </a:solidFill>
              </a:rPr>
              <a:t>Hamburg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4540250" y="2788971"/>
            <a:ext cx="681038" cy="3063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>
                <a:solidFill>
                  <a:srgbClr val="363636"/>
                </a:solidFill>
              </a:rPr>
              <a:t>Berlin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3053044" y="2974422"/>
            <a:ext cx="113982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>
                <a:solidFill>
                  <a:srgbClr val="363636"/>
                </a:solidFill>
              </a:rPr>
              <a:t>Düsseldorf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3660775" y="3490646"/>
            <a:ext cx="84455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363636"/>
                </a:solidFill>
              </a:rPr>
              <a:t>Köln</a:t>
            </a:r>
            <a:endParaRPr lang="de-DE" sz="1400" kern="0" dirty="0">
              <a:solidFill>
                <a:srgbClr val="363636"/>
              </a:solidFill>
            </a:endParaRPr>
          </a:p>
        </p:txBody>
      </p:sp>
      <p:sp>
        <p:nvSpPr>
          <p:cNvPr id="51" name="Textfeld 50"/>
          <p:cNvSpPr txBox="1"/>
          <p:nvPr/>
        </p:nvSpPr>
        <p:spPr>
          <a:xfrm>
            <a:off x="3884630" y="4855896"/>
            <a:ext cx="1124314" cy="3063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363636"/>
                </a:solidFill>
              </a:rPr>
              <a:t>München</a:t>
            </a:r>
            <a:endParaRPr lang="de-DE" sz="1400" kern="0" dirty="0">
              <a:solidFill>
                <a:srgbClr val="363636"/>
              </a:solidFill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5424390" y="4869670"/>
            <a:ext cx="6135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363636"/>
                </a:solidFill>
              </a:rPr>
              <a:t>Wien</a:t>
            </a:r>
            <a:endParaRPr lang="de-DE" sz="1400" kern="0" dirty="0">
              <a:solidFill>
                <a:srgbClr val="363636"/>
              </a:solidFill>
            </a:endParaRPr>
          </a:p>
        </p:txBody>
      </p:sp>
      <p:sp>
        <p:nvSpPr>
          <p:cNvPr id="53" name="Abgerundete rechteckige Legende 52"/>
          <p:cNvSpPr/>
          <p:nvPr/>
        </p:nvSpPr>
        <p:spPr>
          <a:xfrm>
            <a:off x="590550" y="1844408"/>
            <a:ext cx="2815326" cy="857250"/>
          </a:xfrm>
          <a:prstGeom prst="wedgeRoundRectCallout">
            <a:avLst>
              <a:gd name="adj1" fmla="val 82272"/>
              <a:gd name="adj2" fmla="val 28429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864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Parkstreifen N/P4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5 € </a:t>
            </a: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bei </a:t>
            </a:r>
            <a:r>
              <a:rPr lang="de-DE" sz="1050" dirty="0" smtClean="0">
                <a:ea typeface="MS PGothic" pitchFamily="34" charset="-128"/>
              </a:rPr>
              <a:t>Aufnahme und Abgabe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54" name="Abgerundete rechteckige Legende 53"/>
          <p:cNvSpPr/>
          <p:nvPr/>
        </p:nvSpPr>
        <p:spPr>
          <a:xfrm>
            <a:off x="1477963" y="5552808"/>
            <a:ext cx="2706687" cy="855663"/>
          </a:xfrm>
          <a:prstGeom prst="wedgeRoundRectCallout">
            <a:avLst>
              <a:gd name="adj1" fmla="val 70807"/>
              <a:gd name="adj2" fmla="val -101855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864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P20</a:t>
            </a: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, </a:t>
            </a:r>
            <a:r>
              <a:rPr lang="de-DE" sz="1050" dirty="0">
                <a:ea typeface="MS PGothic" pitchFamily="34" charset="-128"/>
              </a:rPr>
              <a:t>L</a:t>
            </a: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evel 1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12 </a:t>
            </a: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€</a:t>
            </a:r>
            <a:r>
              <a:rPr lang="de-DE" sz="1050" dirty="0">
                <a:ea typeface="MS PGothic" pitchFamily="34" charset="-128"/>
              </a:rPr>
              <a:t> </a:t>
            </a:r>
            <a:r>
              <a:rPr lang="de-DE" sz="1050" dirty="0" smtClean="0">
                <a:ea typeface="MS PGothic" pitchFamily="34" charset="-128"/>
              </a:rPr>
              <a:t>bei </a:t>
            </a:r>
            <a:r>
              <a:rPr lang="de-DE" sz="1050" dirty="0">
                <a:ea typeface="MS PGothic" pitchFamily="34" charset="-128"/>
              </a:rPr>
              <a:t>Aufnahme  </a:t>
            </a:r>
            <a:r>
              <a:rPr lang="de-DE" sz="1050" dirty="0" smtClean="0">
                <a:ea typeface="MS PGothic" pitchFamily="34" charset="-128"/>
              </a:rPr>
              <a:t>    und </a:t>
            </a:r>
            <a:r>
              <a:rPr lang="de-DE" sz="1050" dirty="0">
                <a:ea typeface="MS PGothic" pitchFamily="34" charset="-128"/>
              </a:rPr>
              <a:t>Abgabe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55" name="Abgerundete rechteckige Legende 54"/>
          <p:cNvSpPr/>
          <p:nvPr/>
        </p:nvSpPr>
        <p:spPr>
          <a:xfrm>
            <a:off x="6030913" y="5382946"/>
            <a:ext cx="2708275" cy="855662"/>
          </a:xfrm>
          <a:prstGeom prst="wedgeRoundRectCallout">
            <a:avLst>
              <a:gd name="adj1" fmla="val -42612"/>
              <a:gd name="adj2" fmla="val -87161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864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VIP-</a:t>
            </a:r>
            <a:r>
              <a:rPr lang="de-DE" sz="1050" dirty="0" smtClean="0">
                <a:ea typeface="MS PGothic" pitchFamily="34" charset="-128"/>
              </a:rPr>
              <a:t>P</a:t>
            </a: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arken auf </a:t>
            </a: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P4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10 € </a:t>
            </a:r>
            <a:r>
              <a:rPr lang="de-DE" sz="1050" dirty="0">
                <a:ea typeface="MS PGothic" pitchFamily="34" charset="-128"/>
              </a:rPr>
              <a:t>bei Aufnahme      und Abgabe</a:t>
            </a:r>
          </a:p>
        </p:txBody>
      </p:sp>
      <p:sp>
        <p:nvSpPr>
          <p:cNvPr id="56" name="Abgerundete rechteckige Legende 55"/>
          <p:cNvSpPr/>
          <p:nvPr/>
        </p:nvSpPr>
        <p:spPr>
          <a:xfrm>
            <a:off x="6130810" y="1798371"/>
            <a:ext cx="2708275" cy="855662"/>
          </a:xfrm>
          <a:prstGeom prst="wedgeRoundRectCallout">
            <a:avLst>
              <a:gd name="adj1" fmla="val -74531"/>
              <a:gd name="adj2" fmla="val 73490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864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Parken bei der        ARWE Tankstelle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4 € </a:t>
            </a:r>
            <a:r>
              <a:rPr lang="de-DE" sz="1050" dirty="0">
                <a:ea typeface="MS PGothic" pitchFamily="34" charset="-128"/>
              </a:rPr>
              <a:t>bei Aufnahme      und Abgabe</a:t>
            </a:r>
          </a:p>
        </p:txBody>
      </p:sp>
      <p:sp>
        <p:nvSpPr>
          <p:cNvPr id="57" name="Abgerundete rechteckige Legende 56"/>
          <p:cNvSpPr/>
          <p:nvPr/>
        </p:nvSpPr>
        <p:spPr>
          <a:xfrm>
            <a:off x="376577" y="4109769"/>
            <a:ext cx="2706687" cy="1220787"/>
          </a:xfrm>
          <a:prstGeom prst="wedgeRoundRectCallout">
            <a:avLst>
              <a:gd name="adj1" fmla="val 61397"/>
              <a:gd name="adj2" fmla="val -79860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72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Im P32 Parkhaus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Im P3 Parkgebiet    </a:t>
            </a:r>
          </a:p>
          <a:p>
            <a:pPr marL="171450" indent="-171450" fontAlgn="auto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4 € </a:t>
            </a:r>
            <a:r>
              <a:rPr lang="de-DE" sz="1050" dirty="0" smtClean="0">
                <a:ea typeface="MS PGothic" pitchFamily="34" charset="-128"/>
              </a:rPr>
              <a:t>bei Aufnahme </a:t>
            </a:r>
            <a:r>
              <a:rPr lang="de-DE" sz="1050" dirty="0">
                <a:ea typeface="MS PGothic" pitchFamily="34" charset="-128"/>
              </a:rPr>
              <a:t>und </a:t>
            </a:r>
            <a:r>
              <a:rPr lang="de-DE" sz="1050" dirty="0" smtClean="0">
                <a:ea typeface="MS PGothic" pitchFamily="34" charset="-128"/>
              </a:rPr>
              <a:t>Abgabe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58" name="Abgerundete rechteckige Legende 57"/>
          <p:cNvSpPr/>
          <p:nvPr/>
        </p:nvSpPr>
        <p:spPr>
          <a:xfrm>
            <a:off x="86661" y="2951013"/>
            <a:ext cx="2706687" cy="857250"/>
          </a:xfrm>
          <a:prstGeom prst="wedgeRoundRectCallout">
            <a:avLst>
              <a:gd name="adj1" fmla="val 69473"/>
              <a:gd name="adj2" fmla="val -6521"/>
              <a:gd name="adj3" fmla="val 16667"/>
            </a:avLst>
          </a:prstGeom>
          <a:solidFill>
            <a:schemeClr val="bg1">
              <a:alpha val="60000"/>
            </a:schemeClr>
          </a:solidFill>
          <a:ln w="12700" cap="flat" cmpd="sng" algn="ctr">
            <a:solidFill>
              <a:schemeClr val="accent3"/>
            </a:solidFill>
            <a:prstDash val="solid"/>
          </a:ln>
          <a:effectLst/>
        </p:spPr>
        <p:txBody>
          <a:bodyPr rIns="864000" anchor="ctr"/>
          <a:lstStyle/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Parkhaus P7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  <a:p>
            <a:pPr marL="171450" indent="-171450" eaLnBrk="1" fontAlgn="auto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6 € </a:t>
            </a:r>
            <a:r>
              <a:rPr lang="de-DE" sz="1050" dirty="0" smtClean="0">
                <a:ea typeface="MS PGothic" pitchFamily="34" charset="-128"/>
              </a:rPr>
              <a:t>bei Aufnahme           </a:t>
            </a:r>
            <a:r>
              <a:rPr lang="de-DE" sz="1050" dirty="0" smtClean="0">
                <a:solidFill>
                  <a:schemeClr val="tx1"/>
                </a:solidFill>
                <a:ea typeface="MS PGothic" pitchFamily="34" charset="-128"/>
              </a:rPr>
              <a:t>4 </a:t>
            </a:r>
            <a:r>
              <a:rPr lang="de-DE" sz="1050" dirty="0">
                <a:solidFill>
                  <a:schemeClr val="tx1"/>
                </a:solidFill>
                <a:ea typeface="MS PGothic" pitchFamily="34" charset="-128"/>
              </a:rPr>
              <a:t>€ </a:t>
            </a:r>
            <a:r>
              <a:rPr lang="de-DE" sz="1050" dirty="0" smtClean="0">
                <a:ea typeface="MS PGothic" pitchFamily="34" charset="-128"/>
              </a:rPr>
              <a:t>bei Abgabe</a:t>
            </a:r>
            <a:endParaRPr lang="de-DE" sz="1050" dirty="0">
              <a:solidFill>
                <a:schemeClr val="tx1"/>
              </a:solidFill>
              <a:ea typeface="MS PGothic" pitchFamily="34" charset="-128"/>
            </a:endParaRPr>
          </a:p>
        </p:txBody>
      </p:sp>
      <p:pic>
        <p:nvPicPr>
          <p:cNvPr id="59" name="Grafik 1" descr="F:\Bilder\Hamburg\Flughafen\DriveNow_Airport_Hamburg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1652" y="1909967"/>
            <a:ext cx="1204224" cy="726131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14" descr="DN_ShootingBerlin_Presse_FlughafenBerlin_1000px_neu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9110" y="1872928"/>
            <a:ext cx="1169988" cy="72469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Bildplatzhalter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005519" y="5636785"/>
            <a:ext cx="1157764" cy="714217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35" descr="http://blog.drive-now.de/wp-content/uploads/2013/09/Flughafen_Beschreibung_3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11676" y="2960554"/>
            <a:ext cx="1083105" cy="80985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37" descr="DriveNow ist ein Carsharing - Joint Venture der BMW Group und de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1362" y="5421138"/>
            <a:ext cx="1198190" cy="798014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39" descr="http://www.carsharing-blog.de/wp-content/uploads/2013/10/DriveNow_Koeln-Bonn_Airport-290x160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4654" y="4195495"/>
            <a:ext cx="1288610" cy="710958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itel 1"/>
          <p:cNvSpPr txBox="1">
            <a:spLocks/>
          </p:cNvSpPr>
          <p:nvPr/>
        </p:nvSpPr>
        <p:spPr bwMode="gray">
          <a:xfrm>
            <a:off x="427038" y="879475"/>
            <a:ext cx="8377237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dirty="0">
                <a:latin typeface="Arial" charset="0"/>
                <a:cs typeface="Arial" charset="0"/>
              </a:rPr>
              <a:t>DriveNow an </a:t>
            </a:r>
            <a:r>
              <a:rPr lang="de-DE" dirty="0" smtClean="0">
                <a:latin typeface="Arial" charset="0"/>
                <a:cs typeface="Arial" charset="0"/>
              </a:rPr>
              <a:t>Flughäfen </a:t>
            </a:r>
            <a:r>
              <a:rPr lang="de-DE" dirty="0">
                <a:latin typeface="Arial" charset="0"/>
                <a:cs typeface="Arial" charset="0"/>
              </a:rPr>
              <a:t/>
            </a:r>
            <a:br>
              <a:rPr lang="de-DE" dirty="0">
                <a:latin typeface="Arial" charset="0"/>
                <a:cs typeface="Arial" charset="0"/>
              </a:rPr>
            </a:br>
            <a:r>
              <a:rPr lang="de-DE" sz="1800" b="0" dirty="0">
                <a:latin typeface="Arial" charset="0"/>
                <a:cs typeface="Arial" charset="0"/>
              </a:rPr>
              <a:t>Bequeme, schnelle und kostengünstige Verbindung zum Flughafen </a:t>
            </a:r>
            <a:endParaRPr lang="en-US" sz="1800" b="0" dirty="0" smtClean="0">
              <a:latin typeface="Arial" charset="0"/>
              <a:cs typeface="Arial" charset="0"/>
            </a:endParaRPr>
          </a:p>
        </p:txBody>
      </p:sp>
      <p:sp>
        <p:nvSpPr>
          <p:cNvPr id="66" name="Textfeld 1"/>
          <p:cNvSpPr txBox="1">
            <a:spLocks noChangeArrowheads="1"/>
          </p:cNvSpPr>
          <p:nvPr/>
        </p:nvSpPr>
        <p:spPr bwMode="auto">
          <a:xfrm>
            <a:off x="6008688" y="3005308"/>
            <a:ext cx="463550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de-DE" sz="1200" u="sng" dirty="0">
                <a:ea typeface="MS PGothic" pitchFamily="34" charset="-128"/>
              </a:rPr>
              <a:t>Beispielrechnung:</a:t>
            </a:r>
          </a:p>
          <a:p>
            <a:pPr marL="342900" indent="-342900">
              <a:lnSpc>
                <a:spcPct val="150000"/>
              </a:lnSpc>
            </a:pPr>
            <a:r>
              <a:rPr lang="de-DE" sz="1200" dirty="0" smtClean="0">
                <a:ea typeface="MS PGothic" pitchFamily="34" charset="-128"/>
              </a:rPr>
              <a:t>Heumarkt, Köln</a:t>
            </a:r>
            <a:endParaRPr lang="de-DE" sz="1200" dirty="0">
              <a:ea typeface="MS PGothic" pitchFamily="34" charset="-128"/>
            </a:endParaRPr>
          </a:p>
          <a:p>
            <a:pPr marL="342900" indent="-342900">
              <a:lnSpc>
                <a:spcPct val="150000"/>
              </a:lnSpc>
            </a:pPr>
            <a:r>
              <a:rPr lang="de-DE" sz="1200" dirty="0">
                <a:ea typeface="MS PGothic" pitchFamily="34" charset="-128"/>
              </a:rPr>
              <a:t>zum Flughafen </a:t>
            </a:r>
            <a:r>
              <a:rPr lang="de-DE" sz="1200" dirty="0" smtClean="0">
                <a:ea typeface="MS PGothic" pitchFamily="34" charset="-128"/>
              </a:rPr>
              <a:t>Köln:</a:t>
            </a:r>
            <a:endParaRPr lang="de-DE" sz="1200" dirty="0">
              <a:ea typeface="MS PGothic" pitchFamily="34" charset="-128"/>
            </a:endParaRPr>
          </a:p>
          <a:p>
            <a:pPr marL="342900" indent="-342900">
              <a:lnSpc>
                <a:spcPct val="150000"/>
              </a:lnSpc>
            </a:pPr>
            <a:r>
              <a:rPr lang="de-DE" sz="1200" dirty="0" smtClean="0">
                <a:ea typeface="MS PGothic" pitchFamily="34" charset="-128"/>
              </a:rPr>
              <a:t>18 Minuten </a:t>
            </a:r>
            <a:r>
              <a:rPr lang="de-DE" sz="1200" dirty="0">
                <a:ea typeface="MS PGothic" pitchFamily="34" charset="-128"/>
              </a:rPr>
              <a:t>Fahrtzeit à </a:t>
            </a:r>
            <a:r>
              <a:rPr lang="de-DE" sz="1200" dirty="0" smtClean="0">
                <a:ea typeface="MS PGothic" pitchFamily="34" charset="-128"/>
              </a:rPr>
              <a:t>34 </a:t>
            </a:r>
            <a:r>
              <a:rPr lang="de-DE" sz="1200" dirty="0">
                <a:ea typeface="MS PGothic" pitchFamily="34" charset="-128"/>
              </a:rPr>
              <a:t>Ct/Min </a:t>
            </a:r>
            <a:r>
              <a:rPr lang="de-DE" sz="1200" dirty="0" smtClean="0">
                <a:ea typeface="MS PGothic" pitchFamily="34" charset="-128"/>
              </a:rPr>
              <a:t>= 6,12 </a:t>
            </a:r>
            <a:r>
              <a:rPr lang="de-DE" sz="1200" dirty="0">
                <a:ea typeface="MS PGothic" pitchFamily="34" charset="-128"/>
              </a:rPr>
              <a:t>€</a:t>
            </a:r>
          </a:p>
          <a:p>
            <a:pPr marL="342900" indent="-342900">
              <a:lnSpc>
                <a:spcPct val="150000"/>
              </a:lnSpc>
            </a:pPr>
            <a:r>
              <a:rPr lang="de-DE" sz="1200" dirty="0">
                <a:ea typeface="MS PGothic" pitchFamily="34" charset="-128"/>
              </a:rPr>
              <a:t>+ </a:t>
            </a:r>
            <a:r>
              <a:rPr lang="de-DE" sz="1200" dirty="0" smtClean="0">
                <a:ea typeface="MS PGothic" pitchFamily="34" charset="-128"/>
              </a:rPr>
              <a:t>4 </a:t>
            </a:r>
            <a:r>
              <a:rPr lang="de-DE" sz="1200" dirty="0">
                <a:ea typeface="MS PGothic" pitchFamily="34" charset="-128"/>
              </a:rPr>
              <a:t>€ Servicegebühr </a:t>
            </a:r>
            <a:r>
              <a:rPr lang="de-DE" sz="1200" dirty="0">
                <a:solidFill>
                  <a:schemeClr val="accent1"/>
                </a:solidFill>
                <a:ea typeface="MS PGothic" pitchFamily="34" charset="-128"/>
              </a:rPr>
              <a:t>= </a:t>
            </a:r>
            <a:r>
              <a:rPr lang="de-DE" sz="1200" u="sng" dirty="0" smtClean="0">
                <a:solidFill>
                  <a:schemeClr val="accent1"/>
                </a:solidFill>
                <a:ea typeface="MS PGothic" pitchFamily="34" charset="-128"/>
              </a:rPr>
              <a:t>10,12 </a:t>
            </a:r>
            <a:r>
              <a:rPr lang="de-DE" sz="1200" u="sng" dirty="0">
                <a:solidFill>
                  <a:schemeClr val="accent1"/>
                </a:solidFill>
                <a:ea typeface="MS PGothic" pitchFamily="34" charset="-128"/>
              </a:rPr>
              <a:t>€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r>
              <a:rPr lang="de-DE" altLang="de-DE" sz="1600" dirty="0">
                <a:latin typeface="Calibri" pitchFamily="34" charset="0"/>
                <a:ea typeface="MS PGothic" pitchFamily="34" charset="-128"/>
                <a:sym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409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79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35500" y="3730926"/>
            <a:ext cx="3440112" cy="2525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1795" name="Titel 1"/>
          <p:cNvSpPr>
            <a:spLocks noGrp="1"/>
          </p:cNvSpPr>
          <p:nvPr>
            <p:ph type="title" idx="4294967295"/>
          </p:nvPr>
        </p:nvSpPr>
        <p:spPr>
          <a:xfrm>
            <a:off x="427038" y="896938"/>
            <a:ext cx="8377237" cy="938212"/>
          </a:xfrm>
        </p:spPr>
        <p:txBody>
          <a:bodyPr/>
          <a:lstStyle/>
          <a:p>
            <a:pPr eaLnBrk="1" hangingPunct="1"/>
            <a:r>
              <a:rPr lang="de-DE" altLang="de-DE" dirty="0" smtClean="0">
                <a:latin typeface="Arial" charset="0"/>
                <a:cs typeface="Arial" charset="0"/>
              </a:rPr>
              <a:t>Abgabe in der anderen Stadt möglich: </a:t>
            </a:r>
            <a:br>
              <a:rPr lang="de-DE" altLang="de-DE" dirty="0" smtClean="0">
                <a:latin typeface="Arial" charset="0"/>
                <a:cs typeface="Arial" charset="0"/>
              </a:rPr>
            </a:br>
            <a:r>
              <a:rPr lang="de-DE" altLang="de-DE" dirty="0" smtClean="0">
                <a:latin typeface="Arial" charset="0"/>
                <a:cs typeface="Arial" charset="0"/>
              </a:rPr>
              <a:t>Düsseldorf </a:t>
            </a:r>
            <a:r>
              <a:rPr lang="de-DE" altLang="de-DE" dirty="0" smtClean="0">
                <a:solidFill>
                  <a:schemeClr val="accent1"/>
                </a:solidFill>
                <a:latin typeface="Arial" charset="0"/>
                <a:cs typeface="Arial" charset="0"/>
                <a:sym typeface="Wingdings" pitchFamily="2" charset="2"/>
              </a:rPr>
              <a:t>  </a:t>
            </a:r>
            <a:r>
              <a:rPr lang="de-DE" altLang="de-DE" dirty="0" smtClean="0">
                <a:latin typeface="Arial" charset="0"/>
                <a:cs typeface="Arial" charset="0"/>
              </a:rPr>
              <a:t>Köln</a:t>
            </a:r>
            <a:br>
              <a:rPr lang="de-DE" altLang="de-DE" dirty="0" smtClean="0">
                <a:latin typeface="Arial" charset="0"/>
                <a:cs typeface="Arial" charset="0"/>
              </a:rPr>
            </a:br>
            <a:endParaRPr lang="de-DE" dirty="0" smtClean="0">
              <a:latin typeface="Arial" charset="0"/>
              <a:cs typeface="Arial" charset="0"/>
            </a:endParaRPr>
          </a:p>
        </p:txBody>
      </p:sp>
      <p:sp>
        <p:nvSpPr>
          <p:cNvPr id="161796" name="Foliennummernplatzhalter 2"/>
          <p:cNvSpPr txBox="1">
            <a:spLocks noGrp="1"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3BCA3333-3B50-45B7-A4B4-08B398DEBCD1}" type="slidenum">
              <a:rPr lang="de-DE" sz="1000">
                <a:solidFill>
                  <a:schemeClr val="bg1"/>
                </a:solidFill>
              </a:rPr>
              <a:pPr/>
              <a:t>6</a:t>
            </a:fld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61797" name="AutoShape 9" descr="https://www.drive-now.com/fileadmin/application/worldmap_de.png"/>
          <p:cNvSpPr>
            <a:spLocks noChangeAspect="1" noChangeArrowheads="1"/>
          </p:cNvSpPr>
          <p:nvPr/>
        </p:nvSpPr>
        <p:spPr bwMode="auto">
          <a:xfrm>
            <a:off x="5219700" y="30480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altLang="de-DE" sz="1300" b="1">
              <a:latin typeface="Bookman"/>
              <a:ea typeface="MS PGothic" pitchFamily="34" charset="-128"/>
            </a:endParaRPr>
          </a:p>
        </p:txBody>
      </p:sp>
      <p:sp>
        <p:nvSpPr>
          <p:cNvPr id="7" name="Rechteck 16"/>
          <p:cNvSpPr>
            <a:spLocks noChangeArrowheads="1"/>
          </p:cNvSpPr>
          <p:nvPr/>
        </p:nvSpPr>
        <p:spPr bwMode="auto">
          <a:xfrm>
            <a:off x="325438" y="1892300"/>
            <a:ext cx="8760897" cy="244682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/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de-DE" sz="1600" dirty="0">
                <a:latin typeface="Arial" pitchFamily="34" charset="0"/>
                <a:ea typeface="ＭＳ Ｐゴシック" pitchFamily="34" charset="-128"/>
                <a:cs typeface="+mn-cs"/>
              </a:rPr>
              <a:t>Fahren Sie von Köln nach Düsseldorf oder andersherum</a:t>
            </a: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de-DE" sz="1600" dirty="0">
                <a:latin typeface="Arial" pitchFamily="34" charset="0"/>
                <a:ea typeface="ＭＳ Ｐゴシック" pitchFamily="34" charset="-128"/>
                <a:cs typeface="+mn-cs"/>
              </a:rPr>
              <a:t>Zusätzliche Servicepauschale von 8 Euro für </a:t>
            </a:r>
            <a:r>
              <a:rPr lang="de-DE" sz="1600" dirty="0" smtClean="0">
                <a:latin typeface="Arial" pitchFamily="34" charset="0"/>
                <a:ea typeface="ＭＳ Ｐゴシック" pitchFamily="34" charset="-128"/>
                <a:cs typeface="+mn-cs"/>
              </a:rPr>
              <a:t>Abgabe </a:t>
            </a:r>
            <a:r>
              <a:rPr lang="de-DE" sz="1600" dirty="0" smtClean="0"/>
              <a:t>(Köln </a:t>
            </a:r>
            <a:r>
              <a:rPr lang="de-DE" sz="1600" dirty="0"/>
              <a:t>nach Düsseldorf) </a:t>
            </a:r>
            <a:r>
              <a:rPr lang="de-DE" sz="1600" dirty="0" smtClean="0"/>
              <a:t>sowie           </a:t>
            </a:r>
            <a:r>
              <a:rPr lang="de-DE" sz="1600" dirty="0"/>
              <a:t>10 Euro (Düsseldorf nach Köln)</a:t>
            </a:r>
            <a:endParaRPr lang="de-DE" sz="1600" dirty="0">
              <a:latin typeface="Arial" pitchFamily="34" charset="0"/>
              <a:ea typeface="ＭＳ Ｐゴシック" pitchFamily="34" charset="-128"/>
              <a:cs typeface="+mn-cs"/>
            </a:endParaRP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Wingdings" pitchFamily="2" charset="2"/>
              <a:buChar char="ü"/>
              <a:defRPr/>
            </a:pPr>
            <a:r>
              <a:rPr lang="de-DE" sz="1600" dirty="0">
                <a:latin typeface="Arial" pitchFamily="34" charset="0"/>
                <a:ea typeface="ＭＳ Ｐゴシック" pitchFamily="34" charset="-128"/>
                <a:cs typeface="+mn-cs"/>
              </a:rPr>
              <a:t>Abgabe an den Flughäfen aus beiden Städten möglich</a:t>
            </a:r>
          </a:p>
          <a:p>
            <a:pPr marL="342900" indent="-3429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endParaRPr lang="de-DE" dirty="0">
              <a:latin typeface="Arial" pitchFamily="34" charset="0"/>
              <a:ea typeface="ＭＳ Ｐゴシック" pitchFamily="34" charset="-128"/>
              <a:cs typeface="+mn-cs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2000" b="1" dirty="0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61799" name="Grafik 16" descr="DUS Logo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80469" y="3614737"/>
            <a:ext cx="213518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1800" name="Grafik 17" descr="Logo KölnBonnAirport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81849" y="3605212"/>
            <a:ext cx="1500188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1801" name="Titel 1"/>
          <p:cNvSpPr txBox="1">
            <a:spLocks/>
          </p:cNvSpPr>
          <p:nvPr/>
        </p:nvSpPr>
        <p:spPr bwMode="gray">
          <a:xfrm rot="-1267429">
            <a:off x="3869336" y="4366553"/>
            <a:ext cx="1222375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de-DE" altLang="de-DE" sz="6000" b="1" dirty="0">
                <a:solidFill>
                  <a:schemeClr val="accent1"/>
                </a:solidFill>
                <a:sym typeface="Wingdings" pitchFamily="2" charset="2"/>
              </a:rPr>
              <a:t> </a:t>
            </a:r>
            <a:endParaRPr lang="de-DE" sz="6000" b="1" dirty="0"/>
          </a:p>
        </p:txBody>
      </p:sp>
      <p:pic>
        <p:nvPicPr>
          <p:cNvPr id="161802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57810" y="4177814"/>
            <a:ext cx="3206750" cy="222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33264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80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>
                <a:latin typeface="Arial" charset="0"/>
                <a:cs typeface="Arial" charset="0"/>
              </a:rPr>
              <a:t>DriveNow - So geht‘s</a:t>
            </a:r>
          </a:p>
        </p:txBody>
      </p:sp>
      <p:sp>
        <p:nvSpPr>
          <p:cNvPr id="332802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34963" y="6456363"/>
            <a:ext cx="498475" cy="16827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E8A589E-E6B6-402F-8C58-025A379948AD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smtClean="0">
              <a:latin typeface="Arial" charset="0"/>
              <a:cs typeface="Arial" charset="0"/>
            </a:endParaRPr>
          </a:p>
        </p:txBody>
      </p:sp>
      <p:sp>
        <p:nvSpPr>
          <p:cNvPr id="332803" name="AutoShape 25"/>
          <p:cNvSpPr>
            <a:spLocks noChangeArrowheads="1"/>
          </p:cNvSpPr>
          <p:nvPr/>
        </p:nvSpPr>
        <p:spPr bwMode="auto">
          <a:xfrm rot="5400000">
            <a:off x="2097088" y="2387600"/>
            <a:ext cx="622300" cy="161925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5" name="AutoShape 26"/>
          <p:cNvSpPr>
            <a:spLocks noChangeArrowheads="1"/>
          </p:cNvSpPr>
          <p:nvPr/>
        </p:nvSpPr>
        <p:spPr bwMode="auto">
          <a:xfrm rot="5400000">
            <a:off x="4260057" y="2386806"/>
            <a:ext cx="622300" cy="163513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en-US" sz="1050" dirty="0">
              <a:cs typeface="Arial" pitchFamily="34" charset="0"/>
            </a:endParaRPr>
          </a:p>
        </p:txBody>
      </p:sp>
      <p:sp>
        <p:nvSpPr>
          <p:cNvPr id="332805" name="AutoShape 32"/>
          <p:cNvSpPr>
            <a:spLocks noChangeArrowheads="1"/>
          </p:cNvSpPr>
          <p:nvPr/>
        </p:nvSpPr>
        <p:spPr bwMode="auto">
          <a:xfrm rot="5400000">
            <a:off x="6421438" y="2387600"/>
            <a:ext cx="622300" cy="161925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332806" name="Grafik 9" descr="DriveNow-7.jpg"/>
          <p:cNvPicPr preferRelativeResize="0">
            <a:picLocks noChangeAspect="1"/>
          </p:cNvPicPr>
          <p:nvPr/>
        </p:nvPicPr>
        <p:blipFill>
          <a:blip r:embed="rId2"/>
          <a:srcRect b="17146"/>
          <a:stretch>
            <a:fillRect/>
          </a:stretch>
        </p:blipFill>
        <p:spPr bwMode="auto">
          <a:xfrm>
            <a:off x="6913563" y="2454275"/>
            <a:ext cx="1800225" cy="117792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332807" name="AutoShape 32"/>
          <p:cNvSpPr>
            <a:spLocks noChangeArrowheads="1"/>
          </p:cNvSpPr>
          <p:nvPr/>
        </p:nvSpPr>
        <p:spPr bwMode="auto">
          <a:xfrm rot="5400000">
            <a:off x="8570119" y="2388394"/>
            <a:ext cx="622300" cy="160338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332808" name="AutoShape 25"/>
          <p:cNvSpPr>
            <a:spLocks noChangeArrowheads="1"/>
          </p:cNvSpPr>
          <p:nvPr/>
        </p:nvSpPr>
        <p:spPr bwMode="auto">
          <a:xfrm rot="5400000">
            <a:off x="2097088" y="4606925"/>
            <a:ext cx="622300" cy="161925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5" name="Rectangle 34"/>
          <p:cNvSpPr>
            <a:spLocks noChangeArrowheads="1"/>
          </p:cNvSpPr>
          <p:nvPr/>
        </p:nvSpPr>
        <p:spPr bwMode="auto">
          <a:xfrm>
            <a:off x="427038" y="3875088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sz="1600" dirty="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PIN eingeben und Schäden prüfen</a:t>
            </a:r>
            <a:endParaRPr lang="de-DE" sz="16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2810" name="AutoShape 25"/>
          <p:cNvSpPr>
            <a:spLocks noChangeArrowheads="1"/>
          </p:cNvSpPr>
          <p:nvPr/>
        </p:nvSpPr>
        <p:spPr bwMode="auto">
          <a:xfrm rot="5400000">
            <a:off x="4259263" y="4606925"/>
            <a:ext cx="622300" cy="161925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7" name="Rectangle 36"/>
          <p:cNvSpPr>
            <a:spLocks noChangeArrowheads="1"/>
          </p:cNvSpPr>
          <p:nvPr/>
        </p:nvSpPr>
        <p:spPr bwMode="auto">
          <a:xfrm>
            <a:off x="2589213" y="3875088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sz="1600" dirty="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BMW &amp; MINI fahren</a:t>
            </a:r>
            <a:endParaRPr lang="de-DE" sz="16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2812" name="AutoShape 25"/>
          <p:cNvSpPr>
            <a:spLocks noChangeArrowheads="1"/>
          </p:cNvSpPr>
          <p:nvPr/>
        </p:nvSpPr>
        <p:spPr bwMode="auto">
          <a:xfrm rot="5400000">
            <a:off x="6421438" y="4606925"/>
            <a:ext cx="622300" cy="161925"/>
          </a:xfrm>
          <a:prstGeom prst="triangle">
            <a:avLst>
              <a:gd name="adj" fmla="val 50000"/>
            </a:avLst>
          </a:prstGeom>
          <a:solidFill>
            <a:srgbClr val="007FA3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9" name="Rectangle 38"/>
          <p:cNvSpPr>
            <a:spLocks noChangeArrowheads="1"/>
          </p:cNvSpPr>
          <p:nvPr/>
        </p:nvSpPr>
        <p:spPr bwMode="auto">
          <a:xfrm>
            <a:off x="4751388" y="3875088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sz="1600" dirty="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Überall im Geschäftsgebiet abstellen</a:t>
            </a:r>
            <a:endParaRPr lang="de-DE" sz="16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Rectangle 39"/>
          <p:cNvSpPr>
            <a:spLocks noChangeArrowheads="1"/>
          </p:cNvSpPr>
          <p:nvPr/>
        </p:nvSpPr>
        <p:spPr bwMode="auto">
          <a:xfrm>
            <a:off x="6913563" y="3875088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  <a:effectLst/>
        </p:spPr>
        <p:txBody>
          <a:bodyPr lIns="72000" rIns="7200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sz="1600" dirty="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Buchung beenden und Fahrzeug abschließen </a:t>
            </a:r>
            <a:endParaRPr lang="de-DE" sz="16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32815" name="Picture 41" descr="C:\Berit\2012\Marketing\Vertrieb\Vertreibspräsentation\Hintergrundbilder\Slides\Slide_10.jpg"/>
          <p:cNvPicPr preferRelativeResize="0">
            <a:picLocks noChangeAspect="1" noChangeArrowheads="1"/>
          </p:cNvPicPr>
          <p:nvPr/>
        </p:nvPicPr>
        <p:blipFill>
          <a:blip r:embed="rId3"/>
          <a:srcRect l="3149" t="6998" r="10905" b="49272"/>
          <a:stretch>
            <a:fillRect/>
          </a:stretch>
        </p:blipFill>
        <p:spPr bwMode="auto">
          <a:xfrm>
            <a:off x="6913563" y="4733925"/>
            <a:ext cx="1800225" cy="14208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22" name="Rectangle 42"/>
          <p:cNvSpPr/>
          <p:nvPr/>
        </p:nvSpPr>
        <p:spPr>
          <a:xfrm>
            <a:off x="8801100" y="4376738"/>
            <a:ext cx="160338" cy="622300"/>
          </a:xfrm>
          <a:prstGeom prst="rect">
            <a:avLst/>
          </a:prstGeom>
          <a:solidFill>
            <a:srgbClr val="007FA3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427038" y="1609725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  <a:effec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de-DE" sz="1600" dirty="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rPr>
              <a:t>Einmalige Registrierung</a:t>
            </a:r>
            <a:endParaRPr lang="de-DE" sz="1600" dirty="0">
              <a:solidFill>
                <a:schemeClr val="lt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2818" name="Rectangle 9"/>
          <p:cNvSpPr>
            <a:spLocks noChangeArrowheads="1"/>
          </p:cNvSpPr>
          <p:nvPr/>
        </p:nvSpPr>
        <p:spPr bwMode="auto">
          <a:xfrm>
            <a:off x="4751388" y="1609725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de-DE" sz="1600">
                <a:solidFill>
                  <a:srgbClr val="FFFFFF"/>
                </a:solidFill>
                <a:ea typeface="MS PGothic" pitchFamily="34" charset="-128"/>
              </a:rPr>
              <a:t>Kundenkarte oder App dient als „Schlüssel“</a:t>
            </a:r>
          </a:p>
        </p:txBody>
      </p:sp>
      <p:sp>
        <p:nvSpPr>
          <p:cNvPr id="332819" name="Rectangle 10"/>
          <p:cNvSpPr>
            <a:spLocks noChangeArrowheads="1"/>
          </p:cNvSpPr>
          <p:nvPr/>
        </p:nvSpPr>
        <p:spPr bwMode="auto">
          <a:xfrm>
            <a:off x="2589213" y="1609725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de-DE" sz="1600">
                <a:solidFill>
                  <a:srgbClr val="FFFFFF"/>
                </a:solidFill>
                <a:ea typeface="MS PGothic" pitchFamily="34" charset="-128"/>
              </a:rPr>
              <a:t>Auto per App finden</a:t>
            </a:r>
          </a:p>
        </p:txBody>
      </p:sp>
      <p:sp>
        <p:nvSpPr>
          <p:cNvPr id="332820" name="Rectangle 11"/>
          <p:cNvSpPr>
            <a:spLocks noChangeArrowheads="1"/>
          </p:cNvSpPr>
          <p:nvPr/>
        </p:nvSpPr>
        <p:spPr bwMode="auto">
          <a:xfrm>
            <a:off x="6913563" y="1609725"/>
            <a:ext cx="1800225" cy="809625"/>
          </a:xfrm>
          <a:prstGeom prst="rect">
            <a:avLst/>
          </a:prstGeom>
          <a:solidFill>
            <a:srgbClr val="007FA3"/>
          </a:solidFill>
          <a:ln w="1905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de-DE" sz="1600">
                <a:solidFill>
                  <a:srgbClr val="FFFFFF"/>
                </a:solidFill>
              </a:rPr>
              <a:t>Zum Öffnen auf das Lesegerät halten</a:t>
            </a:r>
          </a:p>
        </p:txBody>
      </p:sp>
      <p:pic>
        <p:nvPicPr>
          <p:cNvPr id="332821" name="Bild 16" descr="iphone_OND_1769.jpg"/>
          <p:cNvPicPr>
            <a:picLocks noChangeAspect="1"/>
          </p:cNvPicPr>
          <p:nvPr/>
        </p:nvPicPr>
        <p:blipFill>
          <a:blip r:embed="rId4"/>
          <a:srcRect l="20334" t="14520" r="14606" b="21776"/>
          <a:stretch>
            <a:fillRect/>
          </a:stretch>
        </p:blipFill>
        <p:spPr bwMode="gray">
          <a:xfrm>
            <a:off x="2589213" y="2468563"/>
            <a:ext cx="1800225" cy="117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2822" name="Picture 3" descr="F:\Bilder\Hamburg\KUNDENKARTE\KUNDENKARTE_024_14_mittel.jpg"/>
          <p:cNvPicPr>
            <a:picLocks noChangeAspect="1" noChangeArrowheads="1"/>
          </p:cNvPicPr>
          <p:nvPr/>
        </p:nvPicPr>
        <p:blipFill>
          <a:blip r:embed="rId5"/>
          <a:srcRect b="2448"/>
          <a:stretch>
            <a:fillRect/>
          </a:stretch>
        </p:blipFill>
        <p:spPr bwMode="auto">
          <a:xfrm>
            <a:off x="4751388" y="2460625"/>
            <a:ext cx="1800225" cy="1171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2823" name="Picture 4"/>
          <p:cNvPicPr>
            <a:picLocks noChangeAspect="1" noChangeArrowheads="1"/>
          </p:cNvPicPr>
          <p:nvPr/>
        </p:nvPicPr>
        <p:blipFill>
          <a:blip r:embed="rId6"/>
          <a:srcRect r="17712" b="2649"/>
          <a:stretch>
            <a:fillRect/>
          </a:stretch>
        </p:blipFill>
        <p:spPr bwMode="auto">
          <a:xfrm>
            <a:off x="2592388" y="4733925"/>
            <a:ext cx="1804987" cy="142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1"/>
          <p:cNvPicPr>
            <a:picLocks noChangeAspect="1" noChangeArrowheads="1"/>
          </p:cNvPicPr>
          <p:nvPr/>
        </p:nvPicPr>
        <p:blipFill>
          <a:blip r:embed="rId7"/>
          <a:srcRect l="22739" r="23017" b="25418"/>
          <a:stretch>
            <a:fillRect/>
          </a:stretch>
        </p:blipFill>
        <p:spPr bwMode="auto">
          <a:xfrm>
            <a:off x="427038" y="2468563"/>
            <a:ext cx="1800225" cy="11731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8"/>
          <a:srcRect l="7388" r="9694"/>
          <a:stretch>
            <a:fillRect/>
          </a:stretch>
        </p:blipFill>
        <p:spPr bwMode="auto">
          <a:xfrm>
            <a:off x="4743450" y="4743450"/>
            <a:ext cx="1800225" cy="1423988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332826" name="Bildplatzhalter 13"/>
          <p:cNvPicPr>
            <a:picLocks noChangeAspect="1"/>
          </p:cNvPicPr>
          <p:nvPr/>
        </p:nvPicPr>
        <p:blipFill>
          <a:blip r:embed="rId9"/>
          <a:srcRect l="18968" t="18552" r="31270" b="22504"/>
          <a:stretch>
            <a:fillRect/>
          </a:stretch>
        </p:blipFill>
        <p:spPr bwMode="gray">
          <a:xfrm>
            <a:off x="427038" y="4737100"/>
            <a:ext cx="1800225" cy="142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2827" name="Foliennummernplatzhalter 29"/>
          <p:cNvSpPr txBox="1">
            <a:spLocks/>
          </p:cNvSpPr>
          <p:nvPr/>
        </p:nvSpPr>
        <p:spPr bwMode="gray">
          <a:xfrm>
            <a:off x="334963" y="6681788"/>
            <a:ext cx="4984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de-DE" sz="1000">
                <a:solidFill>
                  <a:schemeClr val="bg1"/>
                </a:solidFill>
              </a:rPr>
              <a:t>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7" name="Titel 1"/>
          <p:cNvSpPr>
            <a:spLocks noGrp="1"/>
          </p:cNvSpPr>
          <p:nvPr>
            <p:ph type="title"/>
          </p:nvPr>
        </p:nvSpPr>
        <p:spPr>
          <a:xfrm>
            <a:off x="427038" y="3978275"/>
            <a:ext cx="7172325" cy="439738"/>
          </a:xfrm>
        </p:spPr>
        <p:txBody>
          <a:bodyPr/>
          <a:lstStyle/>
          <a:p>
            <a:pPr eaLnBrk="1" hangingPunct="1"/>
            <a:r>
              <a:rPr lang="de-DE" sz="2800" dirty="0" smtClean="0">
                <a:latin typeface="Arial" charset="0"/>
                <a:cs typeface="Arial" charset="0"/>
              </a:rPr>
              <a:t>Vorteile für Ihre Mitarbeiter und Vereinen</a:t>
            </a:r>
          </a:p>
        </p:txBody>
      </p:sp>
      <p:sp>
        <p:nvSpPr>
          <p:cNvPr id="142338" name="Textplatzhalter 3"/>
          <p:cNvSpPr>
            <a:spLocks noGrp="1"/>
          </p:cNvSpPr>
          <p:nvPr>
            <p:ph type="body" sz="quarter" idx="12"/>
          </p:nvPr>
        </p:nvSpPr>
        <p:spPr>
          <a:xfrm>
            <a:off x="427038" y="4549775"/>
            <a:ext cx="8380412" cy="1878457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65113" lvl="1" indent="-265113" eaLnBrk="1" hangingPunct="1">
              <a:spcAft>
                <a:spcPts val="600"/>
              </a:spcAft>
              <a:buFont typeface="Wingdings" pitchFamily="2" charset="2"/>
              <a:buChar char="ü"/>
            </a:pPr>
            <a:r>
              <a:rPr lang="de-DE" altLang="de-DE" dirty="0" smtClean="0">
                <a:latin typeface="Arial" charset="0"/>
                <a:cs typeface="Arial" charset="0"/>
              </a:rPr>
              <a:t>Lassen Sie Ihre Mitarbeiter und </a:t>
            </a:r>
            <a:r>
              <a:rPr lang="de-DE" dirty="0">
                <a:latin typeface="Arial" charset="0"/>
                <a:cs typeface="Arial" charset="0"/>
              </a:rPr>
              <a:t>Vereinen </a:t>
            </a:r>
            <a:r>
              <a:rPr lang="de-DE" altLang="de-DE" dirty="0" smtClean="0">
                <a:latin typeface="Arial" charset="0"/>
                <a:cs typeface="Arial" charset="0"/>
              </a:rPr>
              <a:t>teilhaben an moderner und nachhaltiger </a:t>
            </a:r>
            <a:br>
              <a:rPr lang="de-DE" altLang="de-DE" dirty="0" smtClean="0">
                <a:latin typeface="Arial" charset="0"/>
                <a:cs typeface="Arial" charset="0"/>
              </a:rPr>
            </a:br>
            <a:r>
              <a:rPr lang="de-DE" altLang="de-DE" dirty="0" smtClean="0">
                <a:latin typeface="Arial" charset="0"/>
                <a:cs typeface="Arial" charset="0"/>
              </a:rPr>
              <a:t>Mobilität mit einer der innovativsten Mobilitätsoptionen</a:t>
            </a:r>
          </a:p>
          <a:p>
            <a:pPr marL="265113" lvl="1" indent="-265113" eaLnBrk="1" hangingPunct="1">
              <a:spcAft>
                <a:spcPts val="600"/>
              </a:spcAft>
              <a:buFont typeface="Wingdings" pitchFamily="2" charset="2"/>
              <a:buChar char="ü"/>
            </a:pPr>
            <a:r>
              <a:rPr lang="de-DE" dirty="0" smtClean="0">
                <a:latin typeface="Arial" charset="0"/>
              </a:rPr>
              <a:t>Machen Sie Ihren Mitarbeitern und Gästen eine Freude. Ermöglichen Sie Ihren Mitarbeitern die kostenlose </a:t>
            </a:r>
            <a:r>
              <a:rPr lang="de-DE" dirty="0" err="1" smtClean="0">
                <a:latin typeface="Arial" charset="0"/>
              </a:rPr>
              <a:t>DriveNow</a:t>
            </a:r>
            <a:r>
              <a:rPr lang="de-DE" dirty="0" smtClean="0">
                <a:latin typeface="Arial" charset="0"/>
              </a:rPr>
              <a:t> Registrierung</a:t>
            </a:r>
          </a:p>
          <a:p>
            <a:pPr marL="265113" lvl="1" indent="-265113" eaLnBrk="1" hangingPunct="1">
              <a:spcAft>
                <a:spcPts val="600"/>
              </a:spcAft>
              <a:buFont typeface="Wingdings" pitchFamily="2" charset="2"/>
              <a:buChar char="ü"/>
            </a:pPr>
            <a:endParaRPr lang="de-DE" dirty="0" smtClean="0">
              <a:latin typeface="Arial" charset="0"/>
            </a:endParaRPr>
          </a:p>
          <a:p>
            <a:pPr marL="265113" lvl="1" indent="-265113" eaLnBrk="1" hangingPunct="1">
              <a:buFont typeface="Arial" charset="0"/>
              <a:buNone/>
            </a:pPr>
            <a:r>
              <a:rPr lang="de-DE" dirty="0" smtClean="0">
                <a:latin typeface="Arial" charset="0"/>
              </a:rPr>
              <a:t> </a:t>
            </a:r>
          </a:p>
        </p:txBody>
      </p:sp>
      <p:sp>
        <p:nvSpPr>
          <p:cNvPr id="142339" name="Foliennummernplatzhalter 4"/>
          <p:cNvSpPr>
            <a:spLocks noGrp="1"/>
          </p:cNvSpPr>
          <p:nvPr>
            <p:ph type="sldNum" sz="quarter" idx="13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5492FEF-AE4B-467F-AC0D-7E20AD470D43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de-DE" dirty="0" smtClean="0">
              <a:latin typeface="Arial" charset="0"/>
              <a:cs typeface="Arial" charset="0"/>
            </a:endParaRPr>
          </a:p>
        </p:txBody>
      </p:sp>
      <p:pic>
        <p:nvPicPr>
          <p:cNvPr id="142340" name="Picture 2" descr="K:\2. Marketing &amp; Sales\2013\01_Zentral\14_Website\02_Neue Website\03_Content\DN-Bildstruktur\00_Home\header-1600px x 545px\drivenow-carsharing-geschaeftlich.jpg"/>
          <p:cNvPicPr>
            <a:picLocks noChangeAspect="1" noChangeArrowheads="1"/>
          </p:cNvPicPr>
          <p:nvPr/>
        </p:nvPicPr>
        <p:blipFill>
          <a:blip r:embed="rId2"/>
          <a:srcRect l="3134" r="1143"/>
          <a:stretch>
            <a:fillRect/>
          </a:stretch>
        </p:blipFill>
        <p:spPr bwMode="auto">
          <a:xfrm>
            <a:off x="0" y="530225"/>
            <a:ext cx="9144000" cy="325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2341" name="Gruppierung 6"/>
          <p:cNvGrpSpPr>
            <a:grpSpLocks/>
          </p:cNvGrpSpPr>
          <p:nvPr/>
        </p:nvGrpSpPr>
        <p:grpSpPr bwMode="auto">
          <a:xfrm rot="474919">
            <a:off x="7383463" y="796925"/>
            <a:ext cx="1352550" cy="1350963"/>
            <a:chOff x="6514178" y="3403600"/>
            <a:chExt cx="1627910" cy="1627910"/>
          </a:xfrm>
        </p:grpSpPr>
        <p:sp>
          <p:nvSpPr>
            <p:cNvPr id="8" name="Oval 7"/>
            <p:cNvSpPr/>
            <p:nvPr/>
          </p:nvSpPr>
          <p:spPr bwMode="gray">
            <a:xfrm>
              <a:off x="6514178" y="3403600"/>
              <a:ext cx="1627910" cy="16279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dirty="0"/>
            </a:p>
          </p:txBody>
        </p:sp>
        <p:sp>
          <p:nvSpPr>
            <p:cNvPr id="142343" name="Textfeld 8"/>
            <p:cNvSpPr txBox="1">
              <a:spLocks noChangeArrowheads="1"/>
            </p:cNvSpPr>
            <p:nvPr/>
          </p:nvSpPr>
          <p:spPr bwMode="gray">
            <a:xfrm rot="234965">
              <a:off x="6822557" y="3451742"/>
              <a:ext cx="1030054" cy="713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DE" sz="3000">
                  <a:solidFill>
                    <a:schemeClr val="bg2"/>
                  </a:solidFill>
                </a:rPr>
                <a:t>0€</a:t>
              </a:r>
            </a:p>
          </p:txBody>
        </p:sp>
        <p:sp>
          <p:nvSpPr>
            <p:cNvPr id="142344" name="Textfeld 9"/>
            <p:cNvSpPr txBox="1">
              <a:spLocks noChangeArrowheads="1"/>
            </p:cNvSpPr>
            <p:nvPr/>
          </p:nvSpPr>
          <p:spPr bwMode="gray">
            <a:xfrm rot="234965">
              <a:off x="6591620" y="4196993"/>
              <a:ext cx="1450243" cy="713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DE" sz="3000">
                  <a:solidFill>
                    <a:schemeClr val="bg2"/>
                  </a:solidFill>
                </a:rPr>
                <a:t>29€</a:t>
              </a:r>
            </a:p>
          </p:txBody>
        </p:sp>
        <p:sp>
          <p:nvSpPr>
            <p:cNvPr id="142345" name="Textfeld 10"/>
            <p:cNvSpPr txBox="1">
              <a:spLocks noChangeArrowheads="1"/>
            </p:cNvSpPr>
            <p:nvPr/>
          </p:nvSpPr>
          <p:spPr bwMode="gray">
            <a:xfrm rot="234965">
              <a:off x="6799434" y="3966896"/>
              <a:ext cx="1030054" cy="416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de-DE" sz="1500">
                  <a:solidFill>
                    <a:schemeClr val="bg2"/>
                  </a:solidFill>
                </a:rPr>
                <a:t>stat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43616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>
                <a:latin typeface="Arial" charset="0"/>
                <a:cs typeface="Arial" charset="0"/>
              </a:rPr>
              <a:t>Vorteile für Ihr Unternehmen und Ihre Kunden</a:t>
            </a:r>
          </a:p>
        </p:txBody>
      </p:sp>
      <p:sp>
        <p:nvSpPr>
          <p:cNvPr id="143362" name="Foliennummernplatzhalter 2"/>
          <p:cNvSpPr>
            <a:spLocks noGrp="1"/>
          </p:cNvSpPr>
          <p:nvPr>
            <p:ph type="sldNum" sz="quarter" idx="13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3C7A1B3-2337-4397-80F6-615E34DD7BF8}" type="slidenum">
              <a:rPr lang="de-DE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smtClean="0">
              <a:latin typeface="Arial" charset="0"/>
              <a:cs typeface="Arial" charset="0"/>
            </a:endParaRPr>
          </a:p>
        </p:txBody>
      </p:sp>
      <p:sp>
        <p:nvSpPr>
          <p:cNvPr id="143363" name="Textfeld 1"/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427038" y="1818876"/>
            <a:ext cx="5707062" cy="4078039"/>
          </a:xfrm>
        </p:spPr>
        <p:txBody>
          <a:bodyPr wrap="square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eaLnBrk="1" hangingPunct="1">
              <a:lnSpc>
                <a:spcPct val="150000"/>
              </a:lnSpc>
              <a:spcBef>
                <a:spcPct val="0"/>
              </a:spcBef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Kostenlose Registrierung bei DriveNow für Ihre Mitarbeiter und </a:t>
            </a:r>
            <a:r>
              <a:rPr lang="de-DE" sz="1600" dirty="0" smtClean="0">
                <a:latin typeface="Arial" charset="0"/>
                <a:cs typeface="Arial" charset="0"/>
              </a:rPr>
              <a:t>Vereinen </a:t>
            </a: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(reguläre Registrierungsgebühr 29 €)</a:t>
            </a:r>
          </a:p>
          <a:p>
            <a:pPr marL="342900" indent="-342900" eaLnBrk="1" hangingPunct="1">
              <a:lnSpc>
                <a:spcPct val="150000"/>
              </a:lnSpc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Teilnahme am neuartigen Mobilitätskonzept zur Entschärfung urbaner Verkehrsbelastungen</a:t>
            </a:r>
          </a:p>
          <a:p>
            <a:pPr marL="342900" indent="-342900" eaLnBrk="1" hangingPunct="1">
              <a:lnSpc>
                <a:spcPct val="150000"/>
              </a:lnSpc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Mobilitätsergänzung für geschäftliche Fahrten</a:t>
            </a:r>
          </a:p>
          <a:p>
            <a:pPr marL="685800" lvl="1" indent="-285750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Deutlich kostengünstiger als das Taxi</a:t>
            </a:r>
          </a:p>
          <a:p>
            <a:pPr marL="685800" lvl="1" indent="-285750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Mobilitätsoption bei ausgelastetem Fuhrpark</a:t>
            </a:r>
          </a:p>
          <a:p>
            <a:pPr marL="685800" lvl="1" indent="-285750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Intermodale Wegekette mit dem Öffentlichen Verkehr</a:t>
            </a:r>
            <a:endParaRPr lang="en-US" altLang="de-DE" sz="1600" dirty="0" smtClean="0">
              <a:latin typeface="Arial" charset="0"/>
              <a:ea typeface="MS PGothic" pitchFamily="34" charset="-128"/>
              <a:cs typeface="Arial" charset="0"/>
            </a:endParaRPr>
          </a:p>
          <a:p>
            <a:pPr marL="342900" indent="-342900" eaLnBrk="1" hangingPunct="1">
              <a:lnSpc>
                <a:spcPct val="150000"/>
              </a:lnSpc>
            </a:pPr>
            <a:r>
              <a:rPr lang="de-DE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Keine Fixkosten, kein Auslastungsrisiko, keine Vertragsbindung, </a:t>
            </a:r>
            <a:r>
              <a:rPr lang="en-US" altLang="de-DE" sz="1600" dirty="0" err="1" smtClean="0">
                <a:latin typeface="Arial" charset="0"/>
                <a:ea typeface="MS PGothic" pitchFamily="34" charset="-128"/>
                <a:cs typeface="Arial" charset="0"/>
              </a:rPr>
              <a:t>kein</a:t>
            </a:r>
            <a:r>
              <a:rPr lang="en-US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 </a:t>
            </a:r>
            <a:r>
              <a:rPr lang="en-US" altLang="de-DE" sz="1600" dirty="0" err="1" smtClean="0">
                <a:latin typeface="Arial" charset="0"/>
                <a:ea typeface="MS PGothic" pitchFamily="34" charset="-128"/>
                <a:cs typeface="Arial" charset="0"/>
              </a:rPr>
              <a:t>administrativer</a:t>
            </a:r>
            <a:r>
              <a:rPr lang="en-US" altLang="de-DE" sz="1600" dirty="0" smtClean="0">
                <a:latin typeface="Arial" charset="0"/>
                <a:ea typeface="MS PGothic" pitchFamily="34" charset="-128"/>
                <a:cs typeface="Arial" charset="0"/>
              </a:rPr>
              <a:t> </a:t>
            </a:r>
            <a:r>
              <a:rPr lang="en-US" altLang="de-DE" sz="1600" dirty="0" err="1" smtClean="0">
                <a:latin typeface="Arial" charset="0"/>
                <a:ea typeface="MS PGothic" pitchFamily="34" charset="-128"/>
                <a:cs typeface="Arial" charset="0"/>
              </a:rPr>
              <a:t>Aufwand</a:t>
            </a:r>
            <a:endParaRPr lang="de-DE" altLang="de-DE" dirty="0" smtClean="0">
              <a:latin typeface="Arial" charset="0"/>
              <a:ea typeface="MS PGothic" pitchFamily="34" charset="-128"/>
              <a:cs typeface="Arial" charset="0"/>
            </a:endParaRPr>
          </a:p>
        </p:txBody>
      </p:sp>
      <p:pic>
        <p:nvPicPr>
          <p:cNvPr id="143364" name="Picture 6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27825" y="3010694"/>
            <a:ext cx="208438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65" name="Picture 8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40638" y="3896519"/>
            <a:ext cx="11588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66" name="Picture 17" descr="File:S-Bahn-Logo.sv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27825" y="3896519"/>
            <a:ext cx="8286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67" name="Picture 8" descr="G:\Sales Präsi\Aktuell\Fotomaterial\Moodfotos\Drive-Now_Duesseldorf_Jan_2012_4610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27825" y="4779169"/>
            <a:ext cx="2084388" cy="126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68" name="Picture 1" descr="DSC_0294-Edit-2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19888" y="1609726"/>
            <a:ext cx="2079625" cy="125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98331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iveNow Master">
  <a:themeElements>
    <a:clrScheme name="DriveNow">
      <a:dk1>
        <a:srgbClr val="363636"/>
      </a:dk1>
      <a:lt1>
        <a:srgbClr val="FFFFFF"/>
      </a:lt1>
      <a:dk2>
        <a:srgbClr val="D9D9D9"/>
      </a:dk2>
      <a:lt2>
        <a:srgbClr val="FFFFFF"/>
      </a:lt2>
      <a:accent1>
        <a:srgbClr val="007FA3"/>
      </a:accent1>
      <a:accent2>
        <a:srgbClr val="004E64"/>
      </a:accent2>
      <a:accent3>
        <a:srgbClr val="36A0CB"/>
      </a:accent3>
      <a:accent4>
        <a:srgbClr val="8FB846"/>
      </a:accent4>
      <a:accent5>
        <a:srgbClr val="6B8F31"/>
      </a:accent5>
      <a:accent6>
        <a:srgbClr val="A3C639"/>
      </a:accent6>
      <a:hlink>
        <a:srgbClr val="007FA3"/>
      </a:hlink>
      <a:folHlink>
        <a:srgbClr val="007FA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rotWithShape="1">
          <a:gsLst>
            <a:gs pos="0">
              <a:srgbClr val="007FA3">
                <a:tint val="100000"/>
                <a:shade val="100000"/>
                <a:satMod val="130000"/>
              </a:srgbClr>
            </a:gs>
            <a:gs pos="100000">
              <a:srgbClr val="007FA3">
                <a:tint val="50000"/>
                <a:shade val="100000"/>
                <a:satMod val="350000"/>
              </a:srgbClr>
            </a:gs>
          </a:gsLst>
          <a:lin ang="16200000" scaled="0"/>
        </a:gradFill>
        <a:ln w="9525" cap="flat" cmpd="sng" algn="ctr">
          <a:solidFill>
            <a:srgbClr val="007FA3">
              <a:shade val="95000"/>
              <a:satMod val="10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Calibri"/>
          </a:defRPr>
        </a:defPPr>
      </a:lstStyle>
    </a:spDef>
    <a:lnDef>
      <a:spPr>
        <a:noFill/>
        <a:ln w="25400" cap="flat" cmpd="sng" algn="ctr">
          <a:solidFill>
            <a:srgbClr val="007FA3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/>
      <a:lstStyle/>
    </a:lnDef>
    <a:txDef>
      <a:spPr>
        <a:noFill/>
      </a:spPr>
      <a:bodyPr wrap="square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363636"/>
            </a:solidFill>
            <a:effectLst/>
            <a:uLnTx/>
            <a:uFillTx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6</Words>
  <Application>Microsoft Office PowerPoint</Application>
  <PresentationFormat>Bildschirmpräsentation (4:3)</PresentationFormat>
  <Paragraphs>122</Paragraphs>
  <Slides>14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6" baseType="lpstr">
      <vt:lpstr>DriveNow Master</vt:lpstr>
      <vt:lpstr>think-cell Folie</vt:lpstr>
      <vt:lpstr>DriveNow KeyFacts   </vt:lpstr>
      <vt:lpstr>DriveNow - Ein Joint Venture von BMW &amp; Sixt</vt:lpstr>
      <vt:lpstr>DriveNow - das innovative Mobilitätskonzept </vt:lpstr>
      <vt:lpstr>DriveNow Fahrzeugflotte</vt:lpstr>
      <vt:lpstr>PowerPoint-Präsentation</vt:lpstr>
      <vt:lpstr>Abgabe in der anderen Stadt möglich:  Düsseldorf   Köln </vt:lpstr>
      <vt:lpstr>DriveNow - So geht‘s</vt:lpstr>
      <vt:lpstr>Vorteile für Ihre Mitarbeiter und Vereinen</vt:lpstr>
      <vt:lpstr>Vorteile für Ihr Unternehmen und Ihre Kunden</vt:lpstr>
      <vt:lpstr>DriveNow - Tarife</vt:lpstr>
      <vt:lpstr>DriveNow – Geschäftliche Abrechnungsoptionen</vt:lpstr>
      <vt:lpstr>Beispielrechnung</vt:lpstr>
      <vt:lpstr>Versicherungen – Vollkasko &amp; Diebstahlschutz 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phael Nalezinski</dc:creator>
  <cp:lastModifiedBy>Caren Westermann</cp:lastModifiedBy>
  <cp:revision>329</cp:revision>
  <dcterms:created xsi:type="dcterms:W3CDTF">2013-10-28T15:57:04Z</dcterms:created>
  <dcterms:modified xsi:type="dcterms:W3CDTF">2017-03-22T10:54:45Z</dcterms:modified>
</cp:coreProperties>
</file>